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6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7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8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9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0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1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12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13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14.xml" ContentType="application/vnd.openxmlformats-officedocument.theme+xml"/>
  <Override PartName="/ppt/tags/tag149.xml" ContentType="application/vnd.openxmlformats-officedocument.presentationml.tags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15.xml" ContentType="application/vnd.openxmlformats-officedocument.theme+xml"/>
  <Override PartName="/ppt/tags/tag150.xml" ContentType="application/vnd.openxmlformats-officedocument.presentationml.tags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theme/theme16.xml" ContentType="application/vnd.openxmlformats-officedocument.theme+xml"/>
  <Override PartName="/ppt/tags/tag151.xml" ContentType="application/vnd.openxmlformats-officedocument.presentationml.tags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17.xml" ContentType="application/vnd.openxmlformats-officedocument.them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18.xml" ContentType="application/vnd.openxmlformats-officedocument.theme+xml"/>
  <Override PartName="/ppt/tags/tag159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19.xml" ContentType="application/vnd.openxmlformats-officedocument.theme+xml"/>
  <Override PartName="/ppt/tags/tag160.xml" ContentType="application/vnd.openxmlformats-officedocument.presentationml.tags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theme/theme20.xml" ContentType="application/vnd.openxmlformats-officedocument.theme+xml"/>
  <Override PartName="/ppt/tags/tag161.xml" ContentType="application/vnd.openxmlformats-officedocument.presentationml.tags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theme/theme21.xml" ContentType="application/vnd.openxmlformats-officedocument.theme+xml"/>
  <Override PartName="/ppt/tags/tag162.xml" ContentType="application/vnd.openxmlformats-officedocument.presentationml.tags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theme/theme22.xml" ContentType="application/vnd.openxmlformats-officedocument.theme+xml"/>
  <Override PartName="/ppt/tags/tag163.xml" ContentType="application/vnd.openxmlformats-officedocument.presentationml.tags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theme/theme23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theme/theme24.xml" ContentType="application/vnd.openxmlformats-officedocument.theme+xml"/>
  <Override PartName="/ppt/tags/tag171.xml" ContentType="application/vnd.openxmlformats-officedocument.presentationml.tags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theme/theme25.xml" ContentType="application/vnd.openxmlformats-officedocument.theme+xml"/>
  <Override PartName="/ppt/tags/tag172.xml" ContentType="application/vnd.openxmlformats-officedocument.presentationml.tags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theme/theme26.xml" ContentType="application/vnd.openxmlformats-officedocument.theme+xml"/>
  <Override PartName="/ppt/tags/tag173.xml" ContentType="application/vnd.openxmlformats-officedocument.presentationml.tags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theme/theme27.xml" ContentType="application/vnd.openxmlformats-officedocument.theme+xml"/>
  <Override PartName="/ppt/tags/tag174.xml" ContentType="application/vnd.openxmlformats-officedocument.presentationml.tags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28.xml" ContentType="application/vnd.openxmlformats-officedocument.theme+xml"/>
  <Override PartName="/ppt/tags/tag175.xml" ContentType="application/vnd.openxmlformats-officedocument.presentationml.tags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theme/theme29.xml" ContentType="application/vnd.openxmlformats-officedocument.theme+xml"/>
  <Override PartName="/ppt/tags/tag176.xml" ContentType="application/vnd.openxmlformats-officedocument.presentationml.tags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30.xml" ContentType="application/vnd.openxmlformats-officedocument.theme+xml"/>
  <Override PartName="/ppt/tags/tag177.xml" ContentType="application/vnd.openxmlformats-officedocument.presentationml.tags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theme/theme31.xml" ContentType="application/vnd.openxmlformats-officedocument.theme+xml"/>
  <Override PartName="/ppt/tags/tag178.xml" ContentType="application/vnd.openxmlformats-officedocument.presentationml.tags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theme/theme32.xml" ContentType="application/vnd.openxmlformats-officedocument.theme+xml"/>
  <Override PartName="/ppt/tags/tag179.xml" ContentType="application/vnd.openxmlformats-officedocument.presentationml.tags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theme/theme33.xml" ContentType="application/vnd.openxmlformats-officedocument.theme+xml"/>
  <Override PartName="/ppt/tags/tag180.xml" ContentType="application/vnd.openxmlformats-officedocument.presentationml.tags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theme/theme34.xml" ContentType="application/vnd.openxmlformats-officedocument.theme+xml"/>
  <Override PartName="/ppt/tags/tag181.xml" ContentType="application/vnd.openxmlformats-officedocument.presentationml.tags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35.xml" ContentType="application/vnd.openxmlformats-officedocument.theme+xml"/>
  <Override PartName="/ppt/tags/tag182.xml" ContentType="application/vnd.openxmlformats-officedocument.presentationml.tags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theme/theme36.xml" ContentType="application/vnd.openxmlformats-officedocument.theme+xml"/>
  <Override PartName="/ppt/tags/tag183.xml" ContentType="application/vnd.openxmlformats-officedocument.presentationml.tags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theme/theme37.xml" ContentType="application/vnd.openxmlformats-officedocument.theme+xml"/>
  <Override PartName="/ppt/tags/tag184.xml" ContentType="application/vnd.openxmlformats-officedocument.presentationml.tags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theme/theme38.xml" ContentType="application/vnd.openxmlformats-officedocument.theme+xml"/>
  <Override PartName="/ppt/tags/tag185.xml" ContentType="application/vnd.openxmlformats-officedocument.presentationml.tags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theme/theme39.xml" ContentType="application/vnd.openxmlformats-officedocument.theme+xml"/>
  <Override PartName="/ppt/tags/tag186.xml" ContentType="application/vnd.openxmlformats-officedocument.presentationml.tags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theme/theme40.xml" ContentType="application/vnd.openxmlformats-officedocument.them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heme/theme41.xml" ContentType="application/vnd.openxmlformats-officedocument.theme+xml"/>
  <Override PartName="/ppt/theme/theme42.xml" ContentType="application/vnd.openxmlformats-officedocument.theme+xml"/>
  <Override PartName="/ppt/notesSlides/notesSlide1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2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3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4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5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6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notesSlides/notesSlide7.xml" ContentType="application/vnd.openxmlformats-officedocument.presentationml.notesSlid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4"/>
    <p:sldMasterId id="2147490694" r:id="rId5"/>
    <p:sldMasterId id="2147490712" r:id="rId6"/>
    <p:sldMasterId id="2147490728" r:id="rId7"/>
    <p:sldMasterId id="2147490744" r:id="rId8"/>
    <p:sldMasterId id="2147490794" r:id="rId9"/>
    <p:sldMasterId id="2147490992" r:id="rId10"/>
    <p:sldMasterId id="2147491028" r:id="rId11"/>
    <p:sldMasterId id="2147491889" r:id="rId12"/>
    <p:sldMasterId id="2147492929" r:id="rId13"/>
    <p:sldMasterId id="2147493075" r:id="rId14"/>
    <p:sldMasterId id="2147493155" r:id="rId15"/>
    <p:sldMasterId id="2147493227" r:id="rId16"/>
    <p:sldMasterId id="2147493245" r:id="rId17"/>
    <p:sldMasterId id="2147493266" r:id="rId18"/>
    <p:sldMasterId id="2147493324" r:id="rId19"/>
    <p:sldMasterId id="2147493380" r:id="rId20"/>
    <p:sldMasterId id="2147493397" r:id="rId21"/>
    <p:sldMasterId id="2147493417" r:id="rId22"/>
    <p:sldMasterId id="2147493438" r:id="rId23"/>
    <p:sldMasterId id="2147493459" r:id="rId24"/>
    <p:sldMasterId id="2147493480" r:id="rId25"/>
    <p:sldMasterId id="2147493501" r:id="rId26"/>
    <p:sldMasterId id="2147493519" r:id="rId27"/>
    <p:sldMasterId id="2147493540" r:id="rId28"/>
    <p:sldMasterId id="2147493561" r:id="rId29"/>
    <p:sldMasterId id="2147493582" r:id="rId30"/>
    <p:sldMasterId id="2147493603" r:id="rId31"/>
    <p:sldMasterId id="2147493624" r:id="rId32"/>
    <p:sldMasterId id="2147493645" r:id="rId33"/>
    <p:sldMasterId id="2147493666" r:id="rId34"/>
    <p:sldMasterId id="2147493691" r:id="rId35"/>
    <p:sldMasterId id="2147493712" r:id="rId36"/>
    <p:sldMasterId id="2147493733" r:id="rId37"/>
    <p:sldMasterId id="2147493754" r:id="rId38"/>
    <p:sldMasterId id="2147493775" r:id="rId39"/>
    <p:sldMasterId id="2147493796" r:id="rId40"/>
    <p:sldMasterId id="2147493817" r:id="rId41"/>
    <p:sldMasterId id="2147493838" r:id="rId42"/>
    <p:sldMasterId id="2147493921" r:id="rId43"/>
  </p:sldMasterIdLst>
  <p:notesMasterIdLst>
    <p:notesMasterId r:id="rId53"/>
  </p:notesMasterIdLst>
  <p:handoutMasterIdLst>
    <p:handoutMasterId r:id="rId54"/>
  </p:handoutMasterIdLst>
  <p:sldIdLst>
    <p:sldId id="777" r:id="rId44"/>
    <p:sldId id="790" r:id="rId45"/>
    <p:sldId id="1031" r:id="rId46"/>
    <p:sldId id="1034" r:id="rId47"/>
    <p:sldId id="1033" r:id="rId48"/>
    <p:sldId id="1030" r:id="rId49"/>
    <p:sldId id="1035" r:id="rId50"/>
    <p:sldId id="1032" r:id="rId51"/>
    <p:sldId id="1029" r:id="rId52"/>
  </p:sldIdLst>
  <p:sldSz cx="9144000" cy="6858000" type="screen4x3"/>
  <p:notesSz cx="7010400" cy="9296400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Frutiger" panose="020B0500000000000000" pitchFamily="34" charset="0"/>
        <a:ea typeface="+mn-ea"/>
        <a:cs typeface="+mn-cs"/>
        <a:sym typeface="Wingdings 2" panose="05020102010507070707" pitchFamily="18" charset="2"/>
      </a:defRPr>
    </a:lvl9pPr>
  </p:defaultTextStyle>
  <p:extLst>
    <p:ext uri="{521415D9-36F7-43E2-AB2F-B90AF26B5E84}">
      <p14:sectionLst xmlns:p14="http://schemas.microsoft.com/office/powerpoint/2010/main">
        <p14:section name="Default Section" id="{1692A79C-9977-4D00-BBA9-8A57B6B44259}">
          <p14:sldIdLst>
            <p14:sldId id="777"/>
            <p14:sldId id="790"/>
            <p14:sldId id="1031"/>
            <p14:sldId id="1034"/>
            <p14:sldId id="1033"/>
            <p14:sldId id="1030"/>
            <p14:sldId id="1035"/>
            <p14:sldId id="1032"/>
            <p14:sldId id="10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stian Vera (DHL ExpAM)" initials="CV(E" lastIdx="1" clrIdx="0">
    <p:extLst>
      <p:ext uri="{19B8F6BF-5375-455C-9EA6-DF929625EA0E}">
        <p15:presenceInfo xmlns:p15="http://schemas.microsoft.com/office/powerpoint/2012/main" userId="S-1-5-21-441674656-969091364-841622838-654139" providerId="AD"/>
      </p:ext>
    </p:extLst>
  </p:cmAuthor>
  <p:cmAuthor id="2" name="Joe Ella Joseph Mitchell (DHL TT)" initials="JEJM(T" lastIdx="1" clrIdx="1">
    <p:extLst>
      <p:ext uri="{19B8F6BF-5375-455C-9EA6-DF929625EA0E}">
        <p15:presenceInfo xmlns:p15="http://schemas.microsoft.com/office/powerpoint/2012/main" userId="S-1-5-21-441674656-969091364-841622838-4684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0511"/>
    <a:srgbClr val="FFFFFF"/>
    <a:srgbClr val="FFE595"/>
    <a:srgbClr val="FFDB4C"/>
    <a:srgbClr val="5F5F5F"/>
    <a:srgbClr val="0000CC"/>
    <a:srgbClr val="000066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25" autoAdjust="0"/>
    <p:restoredTop sz="63680" autoAdjust="0"/>
  </p:normalViewPr>
  <p:slideViewPr>
    <p:cSldViewPr>
      <p:cViewPr>
        <p:scale>
          <a:sx n="110" d="100"/>
          <a:sy n="110" d="100"/>
        </p:scale>
        <p:origin x="710" y="-16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2832" y="72"/>
      </p:cViewPr>
      <p:guideLst/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Master" Target="slideMasters/slideMaster36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Master" Target="slideMasters/slideMaster39.xml"/><Relationship Id="rId47" Type="http://schemas.openxmlformats.org/officeDocument/2006/relationships/slide" Target="slides/slide4.xml"/><Relationship Id="rId50" Type="http://schemas.openxmlformats.org/officeDocument/2006/relationships/slide" Target="slides/slide7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" Target="slides/slide3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Master" Target="slideMasters/slideMaster38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" Target="slides/slide2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" Target="slides/slide6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" Target="slides/slide1.xml"/><Relationship Id="rId52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" Target="slides/slide5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8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5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t" anchorCtr="0" compatLnSpc="1">
            <a:prstTxWarp prst="textNoShape">
              <a:avLst/>
            </a:prstTxWarp>
          </a:bodyPr>
          <a:lstStyle>
            <a:lvl1pPr defTabSz="936625">
              <a:defRPr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7" name="Rectangle 3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38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t" anchorCtr="0" compatLnSpc="1">
            <a:prstTxWarp prst="textNoShape">
              <a:avLst/>
            </a:prstTxWarp>
          </a:bodyPr>
          <a:lstStyle>
            <a:lvl1pPr algn="r" defTabSz="936625">
              <a:defRPr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8" name="Rectangle 4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b" anchorCtr="0" compatLnSpc="1">
            <a:prstTxWarp prst="textNoShape">
              <a:avLst/>
            </a:prstTxWarp>
          </a:bodyPr>
          <a:lstStyle>
            <a:lvl1pPr defTabSz="936625">
              <a:defRPr b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2469" name="Rectangle 5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b" anchorCtr="0" compatLnSpc="1">
            <a:prstTxWarp prst="textNoShape">
              <a:avLst/>
            </a:prstTxWarp>
          </a:bodyPr>
          <a:lstStyle>
            <a:lvl1pPr algn="r" defTabSz="936625">
              <a:defRPr b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2906C01-D798-482E-B810-CBF8684FB37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593569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t" anchorCtr="0" compatLnSpc="1">
            <a:prstTxWarp prst="textNoShape">
              <a:avLst/>
            </a:prstTxWarp>
          </a:bodyPr>
          <a:lstStyle>
            <a:lvl1pPr defTabSz="936625">
              <a:defRPr b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59" name="Rectangle 3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971925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t" anchorCtr="0" compatLnSpc="1">
            <a:prstTxWarp prst="textNoShape">
              <a:avLst/>
            </a:prstTxWarp>
          </a:bodyPr>
          <a:lstStyle>
            <a:lvl1pPr algn="r" defTabSz="936625">
              <a:defRPr b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720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1" name="Rectangle 5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5038" y="4414838"/>
            <a:ext cx="5140325" cy="418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462" name="Rectangle 6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3"/>
            <a:ext cx="3038475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b" anchorCtr="0" compatLnSpc="1">
            <a:prstTxWarp prst="textNoShape">
              <a:avLst/>
            </a:prstTxWarp>
          </a:bodyPr>
          <a:lstStyle>
            <a:lvl1pPr defTabSz="936625">
              <a:defRPr b="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3" name="Rectangle 7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25" y="8831263"/>
            <a:ext cx="3038475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616" tIns="46808" rIns="93616" bIns="46808" numCol="1" anchor="b" anchorCtr="0" compatLnSpc="1">
            <a:prstTxWarp prst="textNoShape">
              <a:avLst/>
            </a:prstTxWarp>
          </a:bodyPr>
          <a:lstStyle>
            <a:lvl1pPr algn="r" defTabSz="936625">
              <a:defRPr b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71D1782-9A31-4D08-985D-3489DC105D9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317433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138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51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cs-CZ" dirty="0" smtClean="0">
                <a:latin typeface="Arial" panose="020B0604020202020204" pitchFamily="34" charset="0"/>
              </a:rPr>
              <a:t>Welcome to the </a:t>
            </a:r>
            <a:r>
              <a:rPr lang="en-US" altLang="cs-CZ" smtClean="0">
                <a:latin typeface="Arial" panose="020B0604020202020204" pitchFamily="34" charset="0"/>
              </a:rPr>
              <a:t>Global Call </a:t>
            </a:r>
            <a:r>
              <a:rPr lang="en-US" altLang="cs-CZ" dirty="0" smtClean="0">
                <a:latin typeface="Arial" panose="020B0604020202020204" pitchFamily="34" charset="0"/>
              </a:rPr>
              <a:t>Planning Tool Kick-Off</a:t>
            </a:r>
          </a:p>
        </p:txBody>
      </p:sp>
      <p:sp>
        <p:nvSpPr>
          <p:cNvPr id="4751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625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36625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36625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36625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36625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en-US" altLang="cs-CZ" b="0" smtClean="0">
                <a:solidFill>
                  <a:srgbClr val="000000"/>
                </a:solidFill>
                <a:latin typeface="Arial" panose="020B0604020202020204" pitchFamily="34" charset="0"/>
              </a:rPr>
              <a:t>Notice </a:t>
            </a:r>
            <a:fld id="{884EC2F9-5A6C-44DC-A85F-3F1AA1D3BF40}" type="slidenum">
              <a:rPr lang="en-US" altLang="cs-CZ" b="0" smtClean="0">
                <a:solidFill>
                  <a:srgbClr val="000000"/>
                </a:solidFill>
                <a:latin typeface="Arial" panose="020B0604020202020204" pitchFamily="34" charset="0"/>
              </a:rPr>
              <a:pPr/>
              <a:t>1</a:t>
            </a:fld>
            <a:endParaRPr lang="en-US" altLang="cs-CZ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983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646A3EE-5A45-48DD-897C-1584802CB1F8}" type="slidenum">
              <a:rPr lang="en-US" alt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en-US" altLang="en-US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7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6013" y="696913"/>
            <a:ext cx="4651375" cy="3487737"/>
          </a:xfrm>
          <a:ln/>
        </p:spPr>
      </p:sp>
      <p:sp>
        <p:nvSpPr>
          <p:cNvPr id="477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416425"/>
            <a:ext cx="5502275" cy="41830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752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646A3EE-5A45-48DD-897C-1584802CB1F8}" type="slidenum">
              <a:rPr lang="en-US" alt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3</a:t>
            </a:fld>
            <a:endParaRPr lang="en-US" altLang="en-US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7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6013" y="696913"/>
            <a:ext cx="4651375" cy="3487737"/>
          </a:xfrm>
          <a:ln/>
        </p:spPr>
      </p:sp>
      <p:sp>
        <p:nvSpPr>
          <p:cNvPr id="477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416425"/>
            <a:ext cx="5502275" cy="41830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 smtClean="0">
                <a:latin typeface="Arial" panose="020B0604020202020204" pitchFamily="34" charset="0"/>
              </a:rPr>
              <a:t>At </a:t>
            </a:r>
            <a:r>
              <a:rPr lang="en-US" altLang="en-US" dirty="0" err="1" smtClean="0">
                <a:latin typeface="Arial" panose="020B0604020202020204" pitchFamily="34" charset="0"/>
              </a:rPr>
              <a:t>Dhl</a:t>
            </a:r>
            <a:r>
              <a:rPr lang="en-US" altLang="en-US" dirty="0" smtClean="0">
                <a:latin typeface="Arial" panose="020B0604020202020204" pitchFamily="34" charset="0"/>
              </a:rPr>
              <a:t> we are constantly</a:t>
            </a:r>
            <a:r>
              <a:rPr lang="en-US" altLang="en-US" baseline="0" dirty="0" smtClean="0">
                <a:latin typeface="Arial" panose="020B0604020202020204" pitchFamily="34" charset="0"/>
              </a:rPr>
              <a:t> exploring innovative way to improve efficiency, productivity, safety and to increase value to our employees, investors and customers.</a:t>
            </a:r>
          </a:p>
          <a:p>
            <a:r>
              <a:rPr lang="en-US" altLang="en-US" baseline="0" dirty="0" smtClean="0">
                <a:latin typeface="Arial" panose="020B0604020202020204" pitchFamily="34" charset="0"/>
              </a:rPr>
              <a:t>With the breath of our operations it is critical that we are able to put information into context. </a:t>
            </a:r>
          </a:p>
          <a:p>
            <a:endParaRPr lang="en-US" altLang="en-US" baseline="0" dirty="0" smtClean="0">
              <a:latin typeface="Arial" panose="020B0604020202020204" pitchFamily="34" charset="0"/>
            </a:endParaRPr>
          </a:p>
          <a:p>
            <a:r>
              <a:rPr lang="en-US" altLang="en-US" baseline="0" dirty="0" smtClean="0">
                <a:latin typeface="Arial" panose="020B0604020202020204" pitchFamily="34" charset="0"/>
              </a:rPr>
              <a:t>IoT allow us to take decisions now about things happening now. </a:t>
            </a:r>
          </a:p>
          <a:p>
            <a:endParaRPr lang="en-US" altLang="en-US" baseline="0" dirty="0" smtClean="0">
              <a:latin typeface="Arial" panose="020B0604020202020204" pitchFamily="34" charset="0"/>
            </a:endParaRPr>
          </a:p>
          <a:p>
            <a:endParaRPr lang="en-US" altLang="en-US" baseline="0" dirty="0" smtClean="0">
              <a:latin typeface="Arial" panose="020B0604020202020204" pitchFamily="34" charset="0"/>
            </a:endParaRPr>
          </a:p>
          <a:p>
            <a:endParaRPr lang="en-US" altLang="en-US" baseline="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13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646A3EE-5A45-48DD-897C-1584802CB1F8}" type="slidenum">
              <a:rPr lang="en-US" alt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4</a:t>
            </a:fld>
            <a:endParaRPr lang="en-US" altLang="en-US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7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6013" y="696913"/>
            <a:ext cx="4651375" cy="3487737"/>
          </a:xfrm>
          <a:ln/>
        </p:spPr>
      </p:sp>
      <p:sp>
        <p:nvSpPr>
          <p:cNvPr id="477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416425"/>
            <a:ext cx="5502275" cy="41830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 smtClean="0">
                <a:latin typeface="Arial" panose="020B0604020202020204" pitchFamily="34" charset="0"/>
              </a:rPr>
              <a:t>IoT driven by the need for </a:t>
            </a:r>
            <a:endParaRPr lang="en-US" altLang="en-US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05181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646A3EE-5A45-48DD-897C-1584802CB1F8}" type="slidenum">
              <a:rPr lang="en-US" alt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5</a:t>
            </a:fld>
            <a:endParaRPr lang="en-US" altLang="en-US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7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6013" y="696913"/>
            <a:ext cx="4651375" cy="3487737"/>
          </a:xfrm>
          <a:ln/>
        </p:spPr>
      </p:sp>
      <p:sp>
        <p:nvSpPr>
          <p:cNvPr id="477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416425"/>
            <a:ext cx="5502275" cy="41830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260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646A3EE-5A45-48DD-897C-1584802CB1F8}" type="slidenum">
              <a:rPr lang="en-US" alt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6</a:t>
            </a:fld>
            <a:endParaRPr lang="en-US" altLang="en-US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7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6013" y="696913"/>
            <a:ext cx="4651375" cy="3487737"/>
          </a:xfrm>
          <a:ln/>
        </p:spPr>
      </p:sp>
      <p:sp>
        <p:nvSpPr>
          <p:cNvPr id="477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416425"/>
            <a:ext cx="5502275" cy="41830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 smtClean="0">
                <a:latin typeface="Arial" panose="020B0604020202020204" pitchFamily="34" charset="0"/>
              </a:rPr>
              <a:t>Warehouse is no longer a storage for flow of goods,</a:t>
            </a:r>
            <a:r>
              <a:rPr lang="en-US" altLang="en-US" baseline="0" dirty="0" smtClean="0">
                <a:latin typeface="Arial" panose="020B0604020202020204" pitchFamily="34" charset="0"/>
              </a:rPr>
              <a:t> it now stands as a source of competitive advantage for providers who can deliver fast, cost-efficient and with increasingly flexible warehousing operations for their customers. </a:t>
            </a:r>
            <a:endParaRPr lang="en-US" altLang="en-US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8150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646A3EE-5A45-48DD-897C-1584802CB1F8}" type="slidenum">
              <a:rPr lang="en-US" alt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7</a:t>
            </a:fld>
            <a:endParaRPr lang="en-US" altLang="en-US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7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6013" y="696913"/>
            <a:ext cx="4651375" cy="3487737"/>
          </a:xfrm>
          <a:ln/>
        </p:spPr>
      </p:sp>
      <p:sp>
        <p:nvSpPr>
          <p:cNvPr id="477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416425"/>
            <a:ext cx="5502275" cy="41830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8484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646A3EE-5A45-48DD-897C-1584802CB1F8}" type="slidenum">
              <a:rPr lang="en-US" altLang="en-US" smtClean="0">
                <a:solidFill>
                  <a:srgbClr val="000000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</a:pPr>
              <a:t>8</a:t>
            </a:fld>
            <a:endParaRPr lang="en-US" altLang="en-US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77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6013" y="696913"/>
            <a:ext cx="4651375" cy="3487737"/>
          </a:xfrm>
          <a:ln/>
        </p:spPr>
      </p:sp>
      <p:sp>
        <p:nvSpPr>
          <p:cNvPr id="4771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388" y="4416425"/>
            <a:ext cx="5502275" cy="41830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1349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5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2.png"/><Relationship Id="rId2" Type="http://schemas.openxmlformats.org/officeDocument/2006/relationships/tags" Target="../tags/tag9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4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3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7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8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9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6.bin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2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7.bin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0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8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2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4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0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1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2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3.bin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8.xml"/><Relationship Id="rId7" Type="http://schemas.openxmlformats.org/officeDocument/2006/relationships/oleObject" Target="../embeddings/oleObject8.bin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2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4.bin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12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png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5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6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2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4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7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7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0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7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1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7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2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7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3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6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10.jpe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5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6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7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0.jpeg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9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0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1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2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6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23.bin"/><Relationship Id="rId4" Type="http://schemas.openxmlformats.org/officeDocument/2006/relationships/image" Target="../media/image10.jpe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4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7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5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7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6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6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10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22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28.bin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0.jpe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29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0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22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24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1.bin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2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2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3.bin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0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4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20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5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2.png"/><Relationship Id="rId2" Type="http://schemas.openxmlformats.org/officeDocument/2006/relationships/tags" Target="../tags/tag139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24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36.bin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7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8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9.bin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1.bin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1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2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3.bin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2.bin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4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5.bin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4.bin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5.bin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10.jpeg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7.bin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8.bin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0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6.png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7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2.xml"/><Relationship Id="rId7" Type="http://schemas.openxmlformats.org/officeDocument/2006/relationships/oleObject" Target="../embeddings/oleObject32.bin"/><Relationship Id="rId2" Type="http://schemas.openxmlformats.org/officeDocument/2006/relationships/tags" Target="../tags/tag3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6.png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0.bin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1.bin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2.bin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7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7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15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3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3.bin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4.bin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10.jpeg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5.bin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8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6.bin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9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10.jpeg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0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0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10.jpeg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1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0.bin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1.bin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3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3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png"/><Relationship Id="rId2" Type="http://schemas.openxmlformats.org/officeDocument/2006/relationships/tags" Target="../tags/tag43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10.jpeg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3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1.bin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2.bin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3.bin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3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3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3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3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3.bin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168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3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4.bin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65.bin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4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4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4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4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4.bin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47.xml"/><Relationship Id="rId7" Type="http://schemas.openxmlformats.org/officeDocument/2006/relationships/oleObject" Target="../embeddings/oleObject46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6.png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4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4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49.xml"/><Relationship Id="rId7" Type="http://schemas.openxmlformats.org/officeDocument/2006/relationships/oleObject" Target="../embeddings/oleObject48.bin"/><Relationship Id="rId2" Type="http://schemas.openxmlformats.org/officeDocument/2006/relationships/tags" Target="../tags/tag4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6.png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9.bin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5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6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6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6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6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10.jpeg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6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6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1.bin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7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7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7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7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2.bin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7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7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7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3.bin"/><Relationship Id="rId4" Type="http://schemas.openxmlformats.org/officeDocument/2006/relationships/image" Target="../media/image10.jpeg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8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8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8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8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8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8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9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9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9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png"/><Relationship Id="rId2" Type="http://schemas.openxmlformats.org/officeDocument/2006/relationships/tags" Target="../tags/tag5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10.jpeg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9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9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9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0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0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6.bin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0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0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7.bin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0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0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0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1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1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8.bin"/><Relationship Id="rId4" Type="http://schemas.openxmlformats.org/officeDocument/2006/relationships/image" Target="../media/image10.jpeg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1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9.bin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1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1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1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2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2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2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0.bin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64.xml"/><Relationship Id="rId7" Type="http://schemas.openxmlformats.org/officeDocument/2006/relationships/oleObject" Target="../embeddings/oleObject62.bin"/><Relationship Id="rId2" Type="http://schemas.openxmlformats.org/officeDocument/2006/relationships/tags" Target="../tags/tag6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6.png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2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2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2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3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3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3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3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66.xml"/><Relationship Id="rId7" Type="http://schemas.openxmlformats.org/officeDocument/2006/relationships/oleObject" Target="../embeddings/oleObject64.bin"/><Relationship Id="rId2" Type="http://schemas.openxmlformats.org/officeDocument/2006/relationships/tags" Target="../tags/tag6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6.png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7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5.bin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3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4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4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4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4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png"/><Relationship Id="rId2" Type="http://schemas.openxmlformats.org/officeDocument/2006/relationships/tags" Target="../tags/tag6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6.bin"/><Relationship Id="rId4" Type="http://schemas.openxmlformats.org/officeDocument/2006/relationships/image" Target="../media/image10.jpeg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7.bin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4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4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5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5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5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5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7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8.bin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5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png"/><Relationship Id="rId2" Type="http://schemas.openxmlformats.org/officeDocument/2006/relationships/tags" Target="../tags/tag7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10.jpeg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5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6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6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6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6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6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6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2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7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7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7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7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9.png"/><Relationship Id="rId2" Type="http://schemas.openxmlformats.org/officeDocument/2006/relationships/tags" Target="../tags/tag73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10.jpeg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7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7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7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2.bin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8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8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8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76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3.bin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8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8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8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9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9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9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7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4.bin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9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9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9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0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0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78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5.bin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0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0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3.bin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3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4.bin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0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0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0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0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0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6.png"/><Relationship Id="rId2" Type="http://schemas.openxmlformats.org/officeDocument/2006/relationships/tags" Target="../tags/tag7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76.bin"/><Relationship Id="rId4" Type="http://schemas.openxmlformats.org/officeDocument/2006/relationships/image" Target="../media/image10.jpeg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40.xml"/><Relationship Id="rId1" Type="http://schemas.openxmlformats.org/officeDocument/2006/relationships/tags" Target="../tags/tag190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3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5.bin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8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8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1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3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4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6.png"/><Relationship Id="rId2" Type="http://schemas.openxmlformats.org/officeDocument/2006/relationships/tags" Target="../tags/tag88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10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6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9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7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7.png"/><Relationship Id="rId2" Type="http://schemas.openxmlformats.org/officeDocument/2006/relationships/tags" Target="../tags/tag91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8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6.png"/><Relationship Id="rId2" Type="http://schemas.openxmlformats.org/officeDocument/2006/relationships/tags" Target="../tags/tag92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10.jpe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2.png"/><Relationship Id="rId2" Type="http://schemas.openxmlformats.org/officeDocument/2006/relationships/tags" Target="../tags/tag93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90.bin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1" descr="Hintergrund_Postgelb"/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278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4" descr="DHL_Ex_extern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400" y="282575"/>
            <a:ext cx="162083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9" descr="detail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" b="14171"/>
          <a:stretch>
            <a:fillRect/>
          </a:stretch>
        </p:blipFill>
        <p:spPr bwMode="auto">
          <a:xfrm>
            <a:off x="0" y="2781300"/>
            <a:ext cx="5602288" cy="338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50">
            <a:extLst>
              <a:ext uri="{FF2B5EF4-FFF2-40B4-BE49-F238E27FC236}"/>
            </a:extLst>
          </p:cNvPr>
          <p:cNvSpPr>
            <a:spLocks noChangeArrowheads="1"/>
          </p:cNvSpPr>
          <p:nvPr userDrawn="1"/>
        </p:nvSpPr>
        <p:spPr bwMode="auto">
          <a:xfrm>
            <a:off x="179388" y="5689600"/>
            <a:ext cx="5256212" cy="11239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74320" anchor="ctr"/>
          <a:lstStyle>
            <a:lvl1pPr defTabSz="995363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9pPr>
          </a:lstStyle>
          <a:p>
            <a:pPr>
              <a:defRPr/>
            </a:pPr>
            <a:r>
              <a:rPr lang="en-US" altLang="en-US"/>
              <a:t>THE </a:t>
            </a:r>
            <a:r>
              <a:rPr lang="en-US" altLang="en-US">
                <a:solidFill>
                  <a:schemeClr val="accent1"/>
                </a:solidFill>
              </a:rPr>
              <a:t>ACHIEVEMENTS</a:t>
            </a:r>
            <a:r>
              <a:rPr lang="en-US" altLang="en-US"/>
              <a:t> OF AN</a:t>
            </a:r>
          </a:p>
          <a:p>
            <a:pPr>
              <a:defRPr/>
            </a:pPr>
            <a:r>
              <a:rPr lang="en-US" altLang="en-US"/>
              <a:t>ORGANIZATION ARE THE RESULTS</a:t>
            </a:r>
          </a:p>
          <a:p>
            <a:pPr>
              <a:defRPr/>
            </a:pPr>
            <a:r>
              <a:rPr lang="en-US" altLang="en-US"/>
              <a:t>OF THE </a:t>
            </a:r>
            <a:r>
              <a:rPr lang="en-US" altLang="en-US">
                <a:solidFill>
                  <a:schemeClr val="accent1"/>
                </a:solidFill>
              </a:rPr>
              <a:t>COMBINED EFFORT</a:t>
            </a:r>
            <a:r>
              <a:rPr lang="en-US" altLang="en-US"/>
              <a:t> OF</a:t>
            </a:r>
          </a:p>
          <a:p>
            <a:pPr>
              <a:defRPr/>
            </a:pPr>
            <a:r>
              <a:rPr lang="en-US" altLang="en-US"/>
              <a:t>EACH INDIVIDUAL. </a:t>
            </a:r>
          </a:p>
        </p:txBody>
      </p:sp>
      <p:pic>
        <p:nvPicPr>
          <p:cNvPr id="8" name="Picture 52" descr="Linie_DHLRot"/>
          <p:cNvPicPr>
            <a:picLocks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92400"/>
            <a:ext cx="91440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ine 53"/>
          <p:cNvSpPr>
            <a:spLocks noChangeShapeType="1"/>
          </p:cNvSpPr>
          <p:nvPr userDrawn="1"/>
        </p:nvSpPr>
        <p:spPr bwMode="auto">
          <a:xfrm>
            <a:off x="0" y="2781300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>
            <a:spLocks noChangeArrowheads="1"/>
          </p:cNvSpPr>
          <p:nvPr userDrawn="1"/>
        </p:nvSpPr>
        <p:spPr bwMode="auto">
          <a:xfrm>
            <a:off x="541338" y="2420938"/>
            <a:ext cx="5238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itchFamily="34" charset="0"/>
                <a:sym typeface="Wingdings 2" pitchFamily="18" charset="2"/>
              </a:defRPr>
            </a:lvl9pPr>
          </a:lstStyle>
          <a:p>
            <a:pPr>
              <a:defRPr/>
            </a:pPr>
            <a:r>
              <a:rPr lang="en-US" sz="1000" b="0" dirty="0"/>
              <a:t>v201</a:t>
            </a:r>
            <a:r>
              <a:rPr lang="cs-CZ" sz="1000" b="0" dirty="0"/>
              <a:t>4</a:t>
            </a:r>
            <a:endParaRPr lang="en-US" sz="1000" b="0" dirty="0"/>
          </a:p>
        </p:txBody>
      </p:sp>
      <p:sp>
        <p:nvSpPr>
          <p:cNvPr id="11278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41338" y="850900"/>
            <a:ext cx="6350000" cy="882650"/>
          </a:xfrm>
          <a:prstGeom prst="rect">
            <a:avLst/>
          </a:prstGeom>
        </p:spPr>
        <p:txBody>
          <a:bodyPr/>
          <a:lstStyle>
            <a:lvl1pPr>
              <a:defRPr noProof="1"/>
            </a:lvl1pPr>
          </a:lstStyle>
          <a:p>
            <a:r>
              <a:rPr lang="en-US" noProof="1"/>
              <a:t>Titelmasterformat durch Klicken bearbeiten</a:t>
            </a:r>
          </a:p>
        </p:txBody>
      </p:sp>
      <p:sp>
        <p:nvSpPr>
          <p:cNvPr id="11279" name="Rectangle 15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541338" y="1844780"/>
            <a:ext cx="6350000" cy="536575"/>
          </a:xfrm>
          <a:prstGeom prst="rect">
            <a:avLst/>
          </a:prstGeom>
          <a:noFill/>
          <a:ln w="0">
            <a:miter lim="800000"/>
            <a:headEnd/>
            <a:tailEnd/>
          </a:ln>
        </p:spPr>
        <p:txBody>
          <a:bodyPr vert="horz" wrap="square" lIns="91440" tIns="0" rIns="9144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0000"/>
              </a:lnSpc>
              <a:spcAft>
                <a:spcPct val="0"/>
              </a:spcAft>
              <a:defRPr sz="1400" noProof="1">
                <a:solidFill>
                  <a:srgbClr val="D40511"/>
                </a:solidFill>
              </a:defRPr>
            </a:lvl1pPr>
          </a:lstStyle>
          <a:p>
            <a:r>
              <a:rPr lang="en-US" noProof="1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78617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7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5437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28C035B1-9392-4780-BFB7-61310F1AEAA7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1774825"/>
            <a:ext cx="6374862" cy="1861175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D4051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143824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8208000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659948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035091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: 2 columns - 1 lined headlin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47199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: 2 columns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1892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1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183473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1698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592290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010816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1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153894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1699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749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317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lIns="360000" rIns="360000" bIns="1800000" rtlCol="0" anchor="b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4696800" cy="43158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414000" y="419779"/>
            <a:ext cx="1800000" cy="2595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9835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4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670047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10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232204A2-359B-4ABE-BC81-7DBE4EBD01EA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7704000" cy="4320000"/>
          </a:xfrm>
        </p:spPr>
        <p:txBody>
          <a:bodyPr lIns="972000" anchor="ctr"/>
          <a:lstStyle>
            <a:lvl1pPr>
              <a:lnSpc>
                <a:spcPts val="3500"/>
              </a:lnSpc>
              <a:defRPr sz="30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52871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434268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transparent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solidFill>
            <a:srgbClr val="FFCC00">
              <a:alpha val="92000"/>
            </a:srgbClr>
          </a:soli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876244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2 graphic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43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5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B33141AF-EACA-4B70-BA1D-CA4CB3AA3661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16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1" name="Gerade Verbindung 25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176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480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4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176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25" name="Diagrammplatzhalter 11"/>
          <p:cNvSpPr>
            <a:spLocks noGrp="1"/>
          </p:cNvSpPr>
          <p:nvPr>
            <p:ph type="chart" sz="quarter" idx="16"/>
          </p:nvPr>
        </p:nvSpPr>
        <p:spPr>
          <a:xfrm>
            <a:off x="6480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993011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1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367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C111C858-5DCB-46CE-B248-0A287EF5172D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13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0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68000" y="3356925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2996925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chemeClr val="accent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11402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table on image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391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6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9A2C255D-4FCB-479D-8B0F-A4071FAA1099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7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2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15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16" name="Oval 17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7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8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1245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4"/>
          </p:nvPr>
        </p:nvSpPr>
        <p:spPr>
          <a:xfrm>
            <a:off x="468000" y="2088000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1728000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49565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31692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2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634678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: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18026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990000"/>
            <a:ext cx="6253201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23"/>
          </p:nvPr>
        </p:nvSpPr>
        <p:spPr bwMode="gray">
          <a:xfrm>
            <a:off x="2143125" y="6224588"/>
            <a:ext cx="6227763" cy="252412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909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2" name="Foliennummernplatzhalter 2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4EC166D4-BF51-4D8E-AE00-5694AE89631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260974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999" y="1774825"/>
            <a:ext cx="3992875" cy="3600000"/>
          </a:xfrm>
        </p:spPr>
        <p:txBody>
          <a:bodyPr/>
          <a:lstStyle>
            <a:lvl1pPr>
              <a:spcBef>
                <a:spcPts val="1400"/>
              </a:spcBef>
              <a:spcAft>
                <a:spcPts val="0"/>
              </a:spcAft>
              <a:defRPr baseline="0"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8693336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41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6565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43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lIns="360000" rIns="360000" bIns="1800000" rtlCol="0" anchor="b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4696800" cy="43158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414000" y="419779"/>
            <a:ext cx="1800000" cy="2595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176636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46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2703D0B1-0CA0-4051-8065-FBC7A53D880C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6" name="Straight Connector 10"/>
          <p:cNvCxnSpPr/>
          <p:nvPr/>
        </p:nvCxnSpPr>
        <p:spPr bwMode="gray">
          <a:xfrm>
            <a:off x="414338" y="733425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14000" y="238725"/>
            <a:ext cx="8316000" cy="4809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354653044"/>
      </p:ext>
    </p:extLst>
  </p:cSld>
  <p:clrMapOvr>
    <a:masterClrMapping/>
  </p:clrMapOvr>
  <p:transition spd="med">
    <p:fade/>
  </p:transition>
  <p:hf hd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fld id="{839E964B-DC89-4008-9FF5-37E4492375D8}" type="datetimeFigureOut">
              <a:rPr lang="en-US"/>
              <a:pPr>
                <a:defRPr/>
              </a:pPr>
              <a:t>7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41538" y="6224588"/>
            <a:ext cx="6227762" cy="252412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9300" y="6224588"/>
            <a:ext cx="363538" cy="252412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fld id="{89233F53-DFDC-4B39-8803-8C2F95436F4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72169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: full page gradient" userDrawn="1">
  <p:cSld name="Titl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title"/>
          </p:nvPr>
        </p:nvSpPr>
        <p:spPr>
          <a:xfrm>
            <a:off x="414000" y="1155600"/>
            <a:ext cx="8316000" cy="1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Pts val="4200"/>
              <a:buFont typeface="Arial"/>
              <a:buNone/>
              <a:defRPr sz="4200" b="0" i="0" u="none" strike="noStrike" cap="none">
                <a:solidFill>
                  <a:srgbClr val="D4051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body" idx="1"/>
          </p:nvPr>
        </p:nvSpPr>
        <p:spPr>
          <a:xfrm>
            <a:off x="414000" y="6274800"/>
            <a:ext cx="6048000" cy="187325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3"/>
          </p:nvPr>
        </p:nvSpPr>
        <p:spPr>
          <a:xfrm>
            <a:off x="414000" y="2703600"/>
            <a:ext cx="8316000" cy="402291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4"/>
          </p:nvPr>
        </p:nvSpPr>
        <p:spPr>
          <a:xfrm>
            <a:off x="414000" y="3106800"/>
            <a:ext cx="8316000" cy="514738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body" idx="5"/>
          </p:nvPr>
        </p:nvSpPr>
        <p:spPr>
          <a:xfrm>
            <a:off x="414000" y="3621538"/>
            <a:ext cx="8316000" cy="342000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2568665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90000"/>
              </a:lnSpc>
              <a:defRPr sz="315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900" b="1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2" y="2"/>
            <a:ext cx="1702389" cy="187483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675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030400"/>
            <a:ext cx="8316000" cy="325346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746522" rtl="0" eaLnBrk="0" fontAlgn="base" latinLnBrk="0" hangingPunct="0">
              <a:lnSpc>
                <a:spcPct val="100000"/>
              </a:lnSpc>
              <a:spcAft>
                <a:spcPts val="0"/>
              </a:spcAft>
              <a:defRPr sz="1500"/>
            </a:lvl1pPr>
            <a:lvl2pPr marL="0" algn="l" defTabSz="746522" rtl="0" eaLnBrk="0" fontAlgn="base" latinLnBrk="0" hangingPunct="0">
              <a:spcAft>
                <a:spcPts val="1200"/>
              </a:spcAft>
              <a:defRPr lang="en-US" sz="15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2433601"/>
            <a:ext cx="8316000" cy="422405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200"/>
              </a:spcAft>
              <a:defRPr sz="15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2948339"/>
            <a:ext cx="8316000" cy="283906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200"/>
              </a:spcAft>
              <a:defRPr sz="15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7789346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77800" y="5105400"/>
            <a:ext cx="8783638" cy="1600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4000" tIns="144000" rIns="144000" bIns="144000" anchor="ctr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endParaRPr lang="en-US" altLang="en-US" sz="14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8" y="1657350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400" y="6324600"/>
            <a:ext cx="129540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8000" y="1728000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8000" y="345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709226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able of content: 2 columns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6115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 baseline="0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6619134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1 column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13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211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/>
          </p:nvPr>
        </p:nvSpPr>
        <p:spPr bwMode="invGray">
          <a:xfrm>
            <a:off x="414000" y="1414800"/>
            <a:ext cx="6253201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775415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2 columns,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1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8"/>
          </p:nvPr>
        </p:nvSpPr>
        <p:spPr>
          <a:xfrm>
            <a:off x="213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213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20"/>
          </p:nvPr>
        </p:nvSpPr>
        <p:spPr>
          <a:xfrm>
            <a:off x="46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46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62303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4D48062B-F76A-4E43-B7F1-06EDB0B2270F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7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2875" cy="2002162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135573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487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9863"/>
            <a:ext cx="8785225" cy="11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13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87EC21EF-E74F-4E3E-80B9-D39927C3743A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14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8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3254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720000"/>
            <a:ext cx="6374862" cy="2022237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250080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no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A9CF5948-EFEC-439A-9B43-9271EAAA618E}" type="slidenum">
              <a:rPr lang="de-DE" altLang="en-US" sz="1000" b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7325" cy="1800000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FFCC00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5606343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67A6AD93-92DC-4004-9AB2-29541E047E7E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1774825"/>
            <a:ext cx="6374862" cy="1861175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D4051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313761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8208000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37174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3030574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: 2 columns - 1 lined headlin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051102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: 2 columns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623685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1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83594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5C0F7A46-1285-48D0-9985-D9C09F30F1CF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CSR | USA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October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6, 2017 | Plantation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414001" y="1728000"/>
            <a:ext cx="8261999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70555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1698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70646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368472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1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276580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1699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540458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4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805329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10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0063483D-C99A-4E4A-9EBE-E5E73A6061DD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7704000" cy="4320000"/>
          </a:xfrm>
        </p:spPr>
        <p:txBody>
          <a:bodyPr lIns="972000" anchor="ctr"/>
          <a:lstStyle>
            <a:lvl1pPr>
              <a:lnSpc>
                <a:spcPts val="3500"/>
              </a:lnSpc>
              <a:defRPr sz="30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134755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754494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transparent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solidFill>
            <a:srgbClr val="FFCC00">
              <a:alpha val="92000"/>
            </a:srgbClr>
          </a:soli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3619155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2 graphic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510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5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671B2E3E-9CC8-4403-92A5-BEAB8DB7E05A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16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1" name="Gerade Verbindung 25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176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480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4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176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25" name="Diagrammplatzhalter 11"/>
          <p:cNvSpPr>
            <a:spLocks noGrp="1"/>
          </p:cNvSpPr>
          <p:nvPr>
            <p:ph type="chart" sz="quarter" idx="16"/>
          </p:nvPr>
        </p:nvSpPr>
        <p:spPr>
          <a:xfrm>
            <a:off x="6480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231195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1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534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B18E9C91-8BCF-41F5-AEAC-D2D38EA2FBCB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13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0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68000" y="3356925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2996925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chemeClr val="accent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40899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C1AC69DD-6CB0-4B41-B8A2-EE02B16ED5F0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8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1" y="1418590"/>
            <a:ext cx="4049999" cy="4586210"/>
          </a:xfrm>
          <a:prstGeom prst="rect">
            <a:avLst/>
          </a:prstGeom>
        </p:spPr>
        <p:txBody>
          <a:bodyPr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4680001" y="1418590"/>
            <a:ext cx="4049999" cy="4586210"/>
          </a:xfrm>
          <a:prstGeom prst="rect">
            <a:avLst/>
          </a:prstGeom>
        </p:spPr>
        <p:txBody>
          <a:bodyPr/>
          <a:lstStyle>
            <a:lvl1pPr marL="242457" marR="0" indent="-242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84184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table on image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58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6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1AB7E1BD-DB74-47C6-B9B2-4B44AAD9DA2C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7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2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15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16" name="Oval 17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7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8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1245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4"/>
          </p:nvPr>
        </p:nvSpPr>
        <p:spPr>
          <a:xfrm>
            <a:off x="468000" y="2088000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1728000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10520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2951200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2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473157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: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08170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999" y="1774825"/>
            <a:ext cx="3992875" cy="3600000"/>
          </a:xfrm>
        </p:spPr>
        <p:txBody>
          <a:bodyPr/>
          <a:lstStyle>
            <a:lvl1pPr>
              <a:spcBef>
                <a:spcPts val="1400"/>
              </a:spcBef>
              <a:spcAft>
                <a:spcPts val="0"/>
              </a:spcAft>
              <a:defRPr baseline="0"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6031606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58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98457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6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lIns="360000" rIns="360000" bIns="1800000" rtlCol="0" anchor="b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4696800" cy="43158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414000" y="419779"/>
            <a:ext cx="1800000" cy="2595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75826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6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DA15F5C3-1622-419F-A352-F24A4A3EA4F4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6" name="Straight Connector 10"/>
          <p:cNvCxnSpPr/>
          <p:nvPr/>
        </p:nvCxnSpPr>
        <p:spPr bwMode="gray">
          <a:xfrm>
            <a:off x="414338" y="733425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14000" y="238725"/>
            <a:ext cx="8316000" cy="4809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3633965848"/>
      </p:ext>
    </p:extLst>
  </p:cSld>
  <p:clrMapOvr>
    <a:masterClrMapping/>
  </p:clrMapOvr>
  <p:transition spd="med">
    <p:fade/>
  </p:transition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: title and text">
  <p:cSld name="1_Content: title and text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57"/>
          <p:cNvSpPr/>
          <p:nvPr/>
        </p:nvSpPr>
        <p:spPr>
          <a:xfrm>
            <a:off x="179388" y="5952326"/>
            <a:ext cx="8784000" cy="7200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36000">
                <a:srgbClr val="FFCC00">
                  <a:alpha val="76078"/>
                </a:srgbClr>
              </a:gs>
              <a:gs pos="52000">
                <a:srgbClr val="FFCC00">
                  <a:alpha val="89019"/>
                </a:srgbClr>
              </a:gs>
              <a:gs pos="74000">
                <a:schemeClr val="accent3"/>
              </a:gs>
              <a:gs pos="100000">
                <a:schemeClr val="accent3"/>
              </a:gs>
            </a:gsLst>
            <a:lin ang="5400000" scaled="0"/>
          </a:gradFill>
          <a:ln>
            <a:noFill/>
          </a:ln>
        </p:spPr>
        <p:txBody>
          <a:bodyPr spcFirstLastPara="1" lIns="144000" tIns="144000" rIns="144000" bIns="144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/>
            </a:pPr>
            <a:endParaRPr sz="1400" b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Shape 58"/>
          <p:cNvSpPr>
            <a:spLocks noChangeArrowheads="1"/>
          </p:cNvSpPr>
          <p:nvPr/>
        </p:nvSpPr>
        <p:spPr bwMode="auto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 eaLnBrk="1" hangingPunct="1">
              <a:buClr>
                <a:srgbClr val="000000"/>
              </a:buClr>
              <a:buSzPts val="1000"/>
              <a:buFont typeface="Arial" panose="020B0604020202020204" pitchFamily="34" charset="0"/>
              <a:buNone/>
              <a:defRPr/>
            </a:pPr>
            <a:fld id="{793156BF-8C46-4AD7-BE64-683759E44D5A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 eaLnBrk="1" hangingPunct="1">
                <a:buClr>
                  <a:srgbClr val="000000"/>
                </a:buClr>
                <a:buSzPts val="1000"/>
                <a:buFont typeface="Arial" panose="020B0604020202020204" pitchFamily="34" charset="0"/>
                <a:buNone/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6" name="Shape 61"/>
          <p:cNvCxnSpPr>
            <a:cxnSpLocks noChangeShapeType="1"/>
          </p:cNvCxnSpPr>
          <p:nvPr/>
        </p:nvCxnSpPr>
        <p:spPr bwMode="auto">
          <a:xfrm>
            <a:off x="414338" y="1014413"/>
            <a:ext cx="8315325" cy="0"/>
          </a:xfrm>
          <a:prstGeom prst="straightConnector1">
            <a:avLst/>
          </a:prstGeom>
          <a:noFill/>
          <a:ln w="12700">
            <a:solidFill>
              <a:srgbClr val="D4051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12" descr="DHL_cmyk_C PPT logo no bg 100m 100y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6229350"/>
            <a:ext cx="1254125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D4051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14338" y="1249200"/>
            <a:ext cx="8315325" cy="4755600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Shape 63"/>
          <p:cNvSpPr txBox="1">
            <a:spLocks noGrp="1"/>
          </p:cNvSpPr>
          <p:nvPr>
            <p:ph type="ftr" idx="10"/>
          </p:nvPr>
        </p:nvSpPr>
        <p:spPr>
          <a:xfrm>
            <a:off x="2141538" y="6224588"/>
            <a:ext cx="6227762" cy="252412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marR="0" lvl="0"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1243637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: full page gradient" userDrawn="1">
  <p:cSld name="Titl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title"/>
          </p:nvPr>
        </p:nvSpPr>
        <p:spPr>
          <a:xfrm>
            <a:off x="414000" y="1155600"/>
            <a:ext cx="8316000" cy="1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Pts val="4200"/>
              <a:buFont typeface="Arial"/>
              <a:buNone/>
              <a:defRPr sz="4200" b="0" i="0" u="none" strike="noStrike" cap="none">
                <a:solidFill>
                  <a:srgbClr val="D4051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body" idx="1"/>
          </p:nvPr>
        </p:nvSpPr>
        <p:spPr>
          <a:xfrm>
            <a:off x="414000" y="6274800"/>
            <a:ext cx="6048000" cy="187325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3"/>
          </p:nvPr>
        </p:nvSpPr>
        <p:spPr>
          <a:xfrm>
            <a:off x="414000" y="2703600"/>
            <a:ext cx="8316000" cy="402291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4"/>
          </p:nvPr>
        </p:nvSpPr>
        <p:spPr>
          <a:xfrm>
            <a:off x="414000" y="3106800"/>
            <a:ext cx="8316000" cy="514738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body" idx="5"/>
          </p:nvPr>
        </p:nvSpPr>
        <p:spPr>
          <a:xfrm>
            <a:off x="414000" y="3621538"/>
            <a:ext cx="8316000" cy="342000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37466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40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4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hteck 11"/>
          <p:cNvSpPr/>
          <p:nvPr userDrawn="1"/>
        </p:nvSpPr>
        <p:spPr bwMode="hidden">
          <a:xfrm>
            <a:off x="185738" y="5918200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2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8CFFA5C3-92AB-4201-8BF9-322AC6E2912B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3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10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/>
          </p:nvPr>
        </p:nvSpPr>
        <p:spPr bwMode="gray">
          <a:xfrm>
            <a:off x="5499476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/>
          </p:nvPr>
        </p:nvSpPr>
        <p:spPr bwMode="gray">
          <a:xfrm>
            <a:off x="7183463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1" y="1249200"/>
            <a:ext cx="4049999" cy="3129062"/>
          </a:xfrm>
          <a:prstGeom prst="rect">
            <a:avLst/>
          </a:prstGeom>
        </p:spPr>
        <p:txBody>
          <a:bodyPr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46" name="Rectangle 45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45307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90000"/>
              </a:lnSpc>
              <a:defRPr sz="315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900" b="1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2" y="2"/>
            <a:ext cx="1702389" cy="187483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675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030400"/>
            <a:ext cx="8316000" cy="325346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746522" rtl="0" eaLnBrk="0" fontAlgn="base" latinLnBrk="0" hangingPunct="0">
              <a:lnSpc>
                <a:spcPct val="100000"/>
              </a:lnSpc>
              <a:spcAft>
                <a:spcPts val="0"/>
              </a:spcAft>
              <a:defRPr sz="1500"/>
            </a:lvl1pPr>
            <a:lvl2pPr marL="0" algn="l" defTabSz="746522" rtl="0" eaLnBrk="0" fontAlgn="base" latinLnBrk="0" hangingPunct="0">
              <a:spcAft>
                <a:spcPts val="1200"/>
              </a:spcAft>
              <a:defRPr lang="en-US" sz="15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2433601"/>
            <a:ext cx="8316000" cy="422405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200"/>
              </a:spcAft>
              <a:defRPr sz="15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2948339"/>
            <a:ext cx="8316000" cy="283906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200"/>
              </a:spcAft>
              <a:defRPr sz="15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989671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77800" y="5105400"/>
            <a:ext cx="8783638" cy="1600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4000" tIns="144000" rIns="144000" bIns="144000" anchor="ctr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endParaRPr lang="en-US" altLang="en-US" sz="14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8" y="1657350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400" y="6324600"/>
            <a:ext cx="129540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8000" y="1728000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8000" y="345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403641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able of content: 2 columns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6115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 baseline="0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263450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1 column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13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934818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2 columns,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1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8"/>
          </p:nvPr>
        </p:nvSpPr>
        <p:spPr>
          <a:xfrm>
            <a:off x="213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213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20"/>
          </p:nvPr>
        </p:nvSpPr>
        <p:spPr>
          <a:xfrm>
            <a:off x="46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46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168315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7683A035-0E36-4532-8971-75BBEE59FD9E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7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2875" cy="2002162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7566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182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9863"/>
            <a:ext cx="8785225" cy="11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13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806E7B1F-09A0-46D4-88C0-A523A9DC4239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14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8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3254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720000"/>
            <a:ext cx="6374862" cy="2022237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851426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no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6AFF51BC-211A-4FA7-AE84-45F102B9F933}" type="slidenum">
              <a:rPr lang="de-DE" altLang="en-US" sz="10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7325" cy="1800000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FFCC00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438056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609CFF6C-6E04-4A53-93CA-8A4B364BD088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/>
              <a:r>
                <a:rPr lang="en-US" altLang="en-US" sz="10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2875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9027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617" y="16584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1774825"/>
            <a:ext cx="6374862" cy="1861175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D4051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290186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8208000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49296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6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6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11"/>
          <p:cNvSpPr/>
          <p:nvPr userDrawn="1"/>
        </p:nvSpPr>
        <p:spPr bwMode="hidden">
          <a:xfrm>
            <a:off x="179388" y="5922963"/>
            <a:ext cx="8785225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89C54810-965C-44CE-BC7A-688E1BCA1A02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9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40" y="1418590"/>
            <a:ext cx="8315325" cy="45862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07294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826849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: 2 columns - 1 lined headlin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5593685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: 2 columns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015431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1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875634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1698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271847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927787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1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224794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1699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7557977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4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58124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10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A3C170CF-5EA2-4A18-A488-AD512FC83651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/>
              <a:r>
                <a:rPr lang="en-US" altLang="en-US" sz="10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2875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9027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617" y="16584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7704000" cy="4320000"/>
          </a:xfrm>
        </p:spPr>
        <p:txBody>
          <a:bodyPr lIns="972000" anchor="ctr"/>
          <a:lstStyle>
            <a:lvl1pPr>
              <a:lnSpc>
                <a:spcPts val="3500"/>
              </a:lnSpc>
              <a:defRPr sz="30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52501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5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58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0CEA66DF-24E8-4FE0-95A3-2892DB772DB6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7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02821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5677717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transparent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solidFill>
            <a:srgbClr val="FFCC00">
              <a:alpha val="92000"/>
            </a:srgbClr>
          </a:soli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595513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2 graphic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206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5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F0862E1B-ED43-443F-BF5B-E9D7D9BC8F59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16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1" name="Gerade Verbindung 25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176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480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4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176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25" name="Diagrammplatzhalter 11"/>
          <p:cNvSpPr>
            <a:spLocks noGrp="1"/>
          </p:cNvSpPr>
          <p:nvPr>
            <p:ph type="chart" sz="quarter" idx="16"/>
          </p:nvPr>
        </p:nvSpPr>
        <p:spPr>
          <a:xfrm>
            <a:off x="6480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5816177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1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230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0FB3B69D-B1F1-46C1-82DD-37FB03813268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13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0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68000" y="3356925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2996925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chemeClr val="accent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434601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table on image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254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6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C9AE78C5-74C2-461B-93B4-D657817FDC7B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7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2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15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/>
              <a:r>
                <a:rPr lang="en-US" altLang="en-US" sz="10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16" name="Oval 17"/>
            <p:cNvSpPr>
              <a:spLocks noChangeAspect="1" noChangeArrowheads="1"/>
            </p:cNvSpPr>
            <p:nvPr/>
          </p:nvSpPr>
          <p:spPr bwMode="auto">
            <a:xfrm>
              <a:off x="712875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7" name="Oval 31"/>
            <p:cNvSpPr>
              <a:spLocks noChangeAspect="1" noChangeArrowheads="1"/>
            </p:cNvSpPr>
            <p:nvPr/>
          </p:nvSpPr>
          <p:spPr bwMode="auto">
            <a:xfrm>
              <a:off x="409027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8" name="Oval 30"/>
            <p:cNvSpPr>
              <a:spLocks noChangeAspect="1" noChangeArrowheads="1"/>
            </p:cNvSpPr>
            <p:nvPr/>
          </p:nvSpPr>
          <p:spPr bwMode="auto">
            <a:xfrm>
              <a:off x="557617" y="16584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1245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4"/>
          </p:nvPr>
        </p:nvSpPr>
        <p:spPr>
          <a:xfrm>
            <a:off x="468000" y="2088000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1728000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67860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11007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2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952767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: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6581500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999" y="1774825"/>
            <a:ext cx="3992875" cy="3600000"/>
          </a:xfrm>
        </p:spPr>
        <p:txBody>
          <a:bodyPr/>
          <a:lstStyle>
            <a:lvl1pPr>
              <a:spcBef>
                <a:spcPts val="1400"/>
              </a:spcBef>
              <a:spcAft>
                <a:spcPts val="0"/>
              </a:spcAft>
              <a:defRPr baseline="0"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3853452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3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lIns="360000" rIns="360000" bIns="1800000" rtlCol="0" anchor="b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4696800" cy="43158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414000" y="419779"/>
            <a:ext cx="1800000" cy="2595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43813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4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414002" y="4484010"/>
            <a:ext cx="5302037" cy="177233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lIns="180000" tIns="432000" rIns="180000" bIns="180000" anchor="b">
            <a:spAutoFit/>
          </a:bodyPr>
          <a:lstStyle>
            <a:lvl1pPr>
              <a:defRPr sz="2273" b="0" baseline="0">
                <a:solidFill>
                  <a:srgbClr val="D4051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029136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28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4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C1781E72-B930-47E3-977F-A8B990708028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219652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8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4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EA0499CA-F265-4F48-B64F-D896812D0323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256408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6196013"/>
            <a:ext cx="180022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36"/>
          <p:cNvSpPr>
            <a:spLocks noGrp="1"/>
          </p:cNvSpPr>
          <p:nvPr>
            <p:ph type="title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082943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9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7BA71DD2-A83F-4AA2-AB3A-8F2F2063E2AC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23"/>
          </p:nvPr>
        </p:nvSpPr>
        <p:spPr>
          <a:xfrm>
            <a:off x="2143125" y="6224588"/>
            <a:ext cx="6227763" cy="252412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  <p:sp>
        <p:nvSpPr>
          <p:cNvPr id="35" name="Foliennummernplatzhalter 23"/>
          <p:cNvSpPr>
            <a:spLocks noGrp="1"/>
          </p:cNvSpPr>
          <p:nvPr>
            <p:ph type="sldNum" sz="quarter" idx="24"/>
          </p:nvPr>
        </p:nvSpPr>
        <p:spPr bwMode="gray">
          <a:xfrm>
            <a:off x="8369300" y="6224588"/>
            <a:ext cx="363538" cy="252412"/>
          </a:xfrm>
          <a:prstGeom prst="rect">
            <a:avLst/>
          </a:prstGeom>
          <a:ln cap="flat" algn="ctr"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CDF9870-028D-4968-B8CF-F2D5023F7B8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79738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9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86AD7DD4-B4BD-40D2-84A0-D1662DD655C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9542847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9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97E284D4-8DE3-409C-ABAD-11FB0A7613B9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4287D581-0875-4E2E-B66F-04A405E3CA50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185932197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9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11E44074-DF8C-465F-A0A8-299676B1D82E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1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AF28B84E-5812-4976-8F12-330FAD224DCC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3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38829892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0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E820E213-502B-4D08-AC63-00FBDC31CD5C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2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4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EAABE00F-91DF-499C-810E-2B394BF763E0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45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7" name="Footer Placeholder 2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138393560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8A18C615-6337-4528-9F43-18D2ED490349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D05404E4-E241-44FE-9311-6B7179639ED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1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18714351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C74A1D30-1EDE-40F9-827C-0DEF46BE02AF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FD1C1375-9483-4E11-AACF-FDEA244FB61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29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877892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00"/>
            <a:ext cx="8229600" cy="511271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 marL="284163" indent="-168275">
              <a:defRPr sz="1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127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7A585DA4-3BA5-43E4-8B7F-DD1533F4817C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BR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São Paulo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414001" y="1379538"/>
            <a:ext cx="8316000" cy="3408362"/>
          </a:xfrm>
          <a:prstGeom prst="rect">
            <a:avLst/>
          </a:prstGeom>
        </p:spPr>
        <p:txBody>
          <a:bodyPr lIns="900000" rIns="900000" anchor="ctr"/>
          <a:lstStyle>
            <a:lvl1pPr algn="l">
              <a:defRPr sz="2727" b="0">
                <a:solidFill>
                  <a:srgbClr val="D4051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046329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4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7F6E3B57-902A-42D6-B372-65E80D312641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1AB91D9E-8011-42C3-8639-90C0823224A7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3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178458605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4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3FE29F7F-BAF2-462B-8EB6-17ED66567D3E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FE96AA3A-DD92-483E-88D5-85E6AEBC62A5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3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6601138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9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D1529DF2-42A3-4235-A274-648E00ECD50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6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80CF52F7-7EAD-47F8-BC16-AC36F0DB536A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7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9" name="Footer Placeholder 2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301000540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1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4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7B60C97B-E1CF-4806-B91A-C8385D60E705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lIns="180000" tIns="432000" rIns="180000" bIns="180000" anchor="b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875969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53A12D97-18F8-4DCC-8D3D-05A1A6A314F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97BF052B-9963-48C9-A006-3791C383A8F4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rIns="900000" anchor="ctr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120093846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1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7C157C42-3776-4BEC-88DA-016966B5DF29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49B4229C-2243-410D-A6A8-903820C94BFD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1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405035848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2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3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1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45ABAFC8-7EF7-474E-8510-BA68196F96D9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927875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684B00CB-D6C2-4E38-A5BA-5C4645646FA4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8461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812F9ED5-EB9B-4BCD-B4D0-A3DC88E8593D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36"/>
          <p:cNvSpPr>
            <a:spLocks noGrp="1"/>
          </p:cNvSpPr>
          <p:nvPr>
            <p:ph type="title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47897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77800" y="5105400"/>
            <a:ext cx="8783638" cy="1600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4000" tIns="144000" rIns="144000" bIns="144000" anchor="ctr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endParaRPr lang="en-US" altLang="en-US" sz="14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8" y="1657350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400" y="6324600"/>
            <a:ext cx="129540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8000" y="1728000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8000" y="345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510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4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3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1" y="46548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129920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able of content: 2 columns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6115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 baseline="0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8863525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1 column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13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24102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2 columns,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1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8"/>
          </p:nvPr>
        </p:nvSpPr>
        <p:spPr>
          <a:xfrm>
            <a:off x="213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213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20"/>
          </p:nvPr>
        </p:nvSpPr>
        <p:spPr>
          <a:xfrm>
            <a:off x="46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46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879464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7683A035-0E36-4532-8971-75BBEE59FD9E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7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2875" cy="2002162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981339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689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9863"/>
            <a:ext cx="8785225" cy="11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13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806E7B1F-09A0-46D4-88C0-A523A9DC4239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14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8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3254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720000"/>
            <a:ext cx="6374862" cy="2022237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327739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no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6AFF51BC-211A-4FA7-AE84-45F102B9F933}" type="slidenum">
              <a:rPr lang="de-DE" altLang="en-US" sz="10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7325" cy="1800000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FFCC00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974561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609CFF6C-6E04-4A53-93CA-8A4B364BD088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/>
              <a:r>
                <a:rPr lang="en-US" altLang="en-US" sz="10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2875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9027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617" y="16584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1774825"/>
            <a:ext cx="6374862" cy="1861175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D4051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167282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8208000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645824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652262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: 2 columns - 1 lined headlin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7577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4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tabLst>
                <a:tab pos="5628465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/>
          </p:nvPr>
        </p:nvSpPr>
        <p:spPr bwMode="gray">
          <a:xfrm>
            <a:off x="414001" y="13464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842399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: 2 columns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897293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1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899986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1698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822653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80349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1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063021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1699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148474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4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876414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10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A3C170CF-5EA2-4A18-A488-AD512FC83651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/>
              <a:r>
                <a:rPr lang="en-US" altLang="en-US" sz="10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2875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9027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617" y="16584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7704000" cy="4320000"/>
          </a:xfrm>
        </p:spPr>
        <p:txBody>
          <a:bodyPr lIns="972000" anchor="ctr"/>
          <a:lstStyle>
            <a:lvl1pPr>
              <a:lnSpc>
                <a:spcPts val="3500"/>
              </a:lnSpc>
              <a:defRPr sz="30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674686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71688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transparent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solidFill>
            <a:srgbClr val="FFCC00">
              <a:alpha val="92000"/>
            </a:srgbClr>
          </a:soli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56473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5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36"/>
          <p:cNvSpPr>
            <a:spLocks noGrp="1"/>
          </p:cNvSpPr>
          <p:nvPr>
            <p:ph type="title"/>
          </p:nvPr>
        </p:nvSpPr>
        <p:spPr bwMode="gray">
          <a:xfrm>
            <a:off x="414001" y="1681200"/>
            <a:ext cx="8316000" cy="748800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82892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2 graphic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2713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5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F0862E1B-ED43-443F-BF5B-E9D7D9BC8F59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16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1" name="Gerade Verbindung 25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176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480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4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176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25" name="Diagrammplatzhalter 11"/>
          <p:cNvSpPr>
            <a:spLocks noGrp="1"/>
          </p:cNvSpPr>
          <p:nvPr>
            <p:ph type="chart" sz="quarter" idx="16"/>
          </p:nvPr>
        </p:nvSpPr>
        <p:spPr>
          <a:xfrm>
            <a:off x="6480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376253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1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737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0FB3B69D-B1F1-46C1-82DD-37FB03813268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13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0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68000" y="3356925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2996925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chemeClr val="accent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450983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table on image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761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6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C9AE78C5-74C2-461B-93B4-D657817FDC7B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7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tion </a:t>
            </a:r>
            <a:r>
              <a:rPr lang="de-DE" altLang="en-US" sz="10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2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15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/>
              <a:r>
                <a:rPr lang="en-US" altLang="en-US" sz="10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16" name="Oval 17"/>
            <p:cNvSpPr>
              <a:spLocks noChangeAspect="1" noChangeArrowheads="1"/>
            </p:cNvSpPr>
            <p:nvPr/>
          </p:nvSpPr>
          <p:spPr bwMode="auto">
            <a:xfrm>
              <a:off x="712875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7" name="Oval 31"/>
            <p:cNvSpPr>
              <a:spLocks noChangeAspect="1" noChangeArrowheads="1"/>
            </p:cNvSpPr>
            <p:nvPr/>
          </p:nvSpPr>
          <p:spPr bwMode="auto">
            <a:xfrm>
              <a:off x="409027" y="41730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8" name="Oval 30"/>
            <p:cNvSpPr>
              <a:spLocks noChangeAspect="1" noChangeArrowheads="1"/>
            </p:cNvSpPr>
            <p:nvPr/>
          </p:nvSpPr>
          <p:spPr bwMode="auto">
            <a:xfrm>
              <a:off x="557617" y="165844"/>
              <a:ext cx="280035" cy="280035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/>
              <a:r>
                <a:rPr lang="en-US" altLang="en-US" sz="9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1245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4"/>
          </p:nvPr>
        </p:nvSpPr>
        <p:spPr>
          <a:xfrm>
            <a:off x="468000" y="2088000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1728000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452595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801192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2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82383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: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307483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999" y="1774825"/>
            <a:ext cx="3992875" cy="3600000"/>
          </a:xfrm>
        </p:spPr>
        <p:txBody>
          <a:bodyPr/>
          <a:lstStyle>
            <a:lvl1pPr>
              <a:spcBef>
                <a:spcPts val="1400"/>
              </a:spcBef>
              <a:spcAft>
                <a:spcPts val="0"/>
              </a:spcAft>
              <a:defRPr baseline="0"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0965190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80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lIns="360000" rIns="360000" bIns="1800000" rtlCol="0" anchor="b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4696800" cy="43158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414000" y="419779"/>
            <a:ext cx="1800000" cy="2595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940972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77800" y="5105400"/>
            <a:ext cx="8783638" cy="1600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4000" tIns="144000" rIns="144000" bIns="144000" anchor="ctr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endParaRPr lang="en-US" altLang="en-US" sz="14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8" y="1657350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400" y="6324600"/>
            <a:ext cx="129540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8000" y="1728000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8000" y="345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230896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able of content: 2 columns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6115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 baseline="0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07518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Quot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11"/>
          <p:cNvSpPr txBox="1">
            <a:spLocks noChangeArrowheads="1"/>
          </p:cNvSpPr>
          <p:nvPr/>
        </p:nvSpPr>
        <p:spPr bwMode="gray">
          <a:xfrm>
            <a:off x="8369300" y="6300788"/>
            <a:ext cx="36353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 eaLnBrk="1" hangingPunct="1">
              <a:defRPr/>
            </a:pPr>
            <a:fld id="{5C14BD17-A4E4-4353-893F-AC5907132117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" name="Bild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053138"/>
            <a:ext cx="1511300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14000" y="468000"/>
            <a:ext cx="8316000" cy="432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079146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1 column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13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323807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2 columns,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1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8"/>
          </p:nvPr>
        </p:nvSpPr>
        <p:spPr>
          <a:xfrm>
            <a:off x="213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213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20"/>
          </p:nvPr>
        </p:nvSpPr>
        <p:spPr>
          <a:xfrm>
            <a:off x="46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46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170930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802895DC-83A9-403B-8B0F-B980B5EB4238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7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2875" cy="2002162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951189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073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9863"/>
            <a:ext cx="8785225" cy="11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13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44D2007C-2769-4C8B-8FA2-4F3476FC3DC7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14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8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3254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720000"/>
            <a:ext cx="6374862" cy="2022237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895732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no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18763850-74EC-46AF-A43A-5DD53193567F}" type="slidenum">
              <a:rPr lang="de-DE" altLang="en-US" sz="1000" b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7325" cy="1800000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FFCC00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374708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28C035B1-9392-4780-BFB7-61310F1AEAA7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1774825"/>
            <a:ext cx="6374862" cy="1861175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D4051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228301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8208000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07897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1 column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8000" y="1547999"/>
            <a:ext cx="6120000" cy="4320000"/>
          </a:xfrm>
        </p:spPr>
        <p:txBody>
          <a:bodyPr/>
          <a:lstStyle>
            <a:lvl1pPr>
              <a:spcAft>
                <a:spcPts val="1400"/>
              </a:spcAft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762786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: 2 columns - 1 lined headlin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422032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Content: 2 columns - 2 lined headline + black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32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17602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3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5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6196013"/>
            <a:ext cx="180022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1" y="11556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3999" y="6274804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091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1" y="2703604"/>
            <a:ext cx="8316000" cy="3742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18"/>
            </a:lvl1pPr>
            <a:lvl2pPr marL="0" algn="l" defTabSz="904885" rtl="0" eaLnBrk="0" fontAlgn="base" latinLnBrk="0" hangingPunct="0">
              <a:spcAft>
                <a:spcPts val="1455"/>
              </a:spcAft>
              <a:defRPr lang="en-US" sz="181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1" y="3106800"/>
            <a:ext cx="8316000" cy="48113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109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455"/>
              </a:spcAft>
              <a:defRPr sz="1818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564090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1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51783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462121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1698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8640332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image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1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5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540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0187057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1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985838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547998"/>
            <a:ext cx="3992875" cy="43200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003476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2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368425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3992874" cy="12600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1699"/>
            <a:ext cx="3992875" cy="3926301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558261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3 images, 3 lin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 Verbindung 12"/>
          <p:cNvCxnSpPr/>
          <p:nvPr userDrawn="1"/>
        </p:nvCxnSpPr>
        <p:spPr>
          <a:xfrm>
            <a:off x="465138" y="1763713"/>
            <a:ext cx="39878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Bildplatzhalter 7"/>
          <p:cNvSpPr>
            <a:spLocks noGrp="1"/>
          </p:cNvSpPr>
          <p:nvPr>
            <p:ph type="pic" sz="quarter" idx="12"/>
          </p:nvPr>
        </p:nvSpPr>
        <p:spPr>
          <a:xfrm>
            <a:off x="4680000" y="468000"/>
            <a:ext cx="3996000" cy="388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468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4"/>
          </p:nvPr>
        </p:nvSpPr>
        <p:spPr>
          <a:xfrm>
            <a:off x="6750000" y="4500000"/>
            <a:ext cx="1926000" cy="1368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7999"/>
            <a:ext cx="3992874" cy="1306825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7999" y="1940400"/>
            <a:ext cx="3992875" cy="3960000"/>
          </a:xfrm>
        </p:spPr>
        <p:txBody>
          <a:bodyPr/>
          <a:lstStyle>
            <a:lvl1pPr>
              <a:spcAft>
                <a:spcPts val="1400"/>
              </a:spcAft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066967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30363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10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232204A2-359B-4ABE-BC81-7DBE4EBD01EA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2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8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9" name="Oval 15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0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1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7704000" cy="4320000"/>
          </a:xfrm>
        </p:spPr>
        <p:txBody>
          <a:bodyPr lIns="972000" anchor="ctr"/>
          <a:lstStyle>
            <a:lvl1pPr>
              <a:lnSpc>
                <a:spcPts val="3500"/>
              </a:lnSpc>
              <a:defRPr sz="30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8249980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828079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transparent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5138" y="5533750"/>
            <a:ext cx="5256000" cy="722588"/>
          </a:xfrm>
          <a:solidFill>
            <a:srgbClr val="FFCC00">
              <a:alpha val="92000"/>
            </a:srgbClr>
          </a:solidFill>
        </p:spPr>
        <p:txBody>
          <a:bodyPr lIns="180000" tIns="180000" rIns="180000" bIns="180000" anchor="b">
            <a:spAutoFit/>
          </a:bodyPr>
          <a:lstStyle>
            <a:lvl1pPr>
              <a:lnSpc>
                <a:spcPts val="2800"/>
              </a:lnSpc>
              <a:defRPr sz="2500" cap="none"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739700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2 graphic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097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5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B33141AF-EACA-4B70-BA1D-CA4CB3AA3661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16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1" name="Gerade Verbindung 25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176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480000" y="3072320"/>
            <a:ext cx="21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4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176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25" name="Diagrammplatzhalter 11"/>
          <p:cNvSpPr>
            <a:spLocks noGrp="1"/>
          </p:cNvSpPr>
          <p:nvPr>
            <p:ph type="chart" sz="quarter" idx="16"/>
          </p:nvPr>
        </p:nvSpPr>
        <p:spPr>
          <a:xfrm>
            <a:off x="6480000" y="3432320"/>
            <a:ext cx="2196000" cy="2448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 algn="ctr"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95247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7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7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4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80571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: 1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121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C111C858-5DCB-46CE-B248-0A287EF5172D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 13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0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2" name="Diagrammplatzhalter 11"/>
          <p:cNvSpPr>
            <a:spLocks noGrp="1"/>
          </p:cNvSpPr>
          <p:nvPr>
            <p:ph type="chart" sz="quarter" idx="15"/>
          </p:nvPr>
        </p:nvSpPr>
        <p:spPr>
          <a:xfrm>
            <a:off x="468000" y="3356925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="1"/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2996925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chemeClr val="accent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150112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table on image,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45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6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9A2C255D-4FCB-479D-8B0F-A4071FAA1099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7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cxnSp>
        <p:nvCxnSpPr>
          <p:cNvPr id="12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 noChangeAspect="1"/>
          </p:cNvGrpSpPr>
          <p:nvPr userDrawn="1"/>
        </p:nvGrpSpPr>
        <p:grpSpPr bwMode="auto">
          <a:xfrm>
            <a:off x="7024688" y="6151563"/>
            <a:ext cx="493712" cy="493712"/>
            <a:chOff x="368731" y="147499"/>
            <a:chExt cx="658842" cy="658842"/>
          </a:xfrm>
        </p:grpSpPr>
        <p:sp>
          <p:nvSpPr>
            <p:cNvPr id="15" name="Oval 30"/>
            <p:cNvSpPr>
              <a:spLocks noChangeAspect="1" noChangeArrowheads="1"/>
            </p:cNvSpPr>
            <p:nvPr/>
          </p:nvSpPr>
          <p:spPr bwMode="auto">
            <a:xfrm>
              <a:off x="368731" y="147499"/>
              <a:ext cx="658842" cy="65884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`</a:t>
              </a:r>
            </a:p>
          </p:txBody>
        </p:sp>
        <p:sp>
          <p:nvSpPr>
            <p:cNvPr id="16" name="Oval 17"/>
            <p:cNvSpPr>
              <a:spLocks noChangeAspect="1" noChangeArrowheads="1"/>
            </p:cNvSpPr>
            <p:nvPr/>
          </p:nvSpPr>
          <p:spPr bwMode="auto">
            <a:xfrm>
              <a:off x="711922" y="416543"/>
              <a:ext cx="281755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3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7" name="Oval 31"/>
            <p:cNvSpPr>
              <a:spLocks noChangeAspect="1" noChangeArrowheads="1"/>
            </p:cNvSpPr>
            <p:nvPr/>
          </p:nvSpPr>
          <p:spPr bwMode="auto">
            <a:xfrm>
              <a:off x="408981" y="416543"/>
              <a:ext cx="279637" cy="28175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18" name="Oval 30"/>
            <p:cNvSpPr>
              <a:spLocks noChangeAspect="1" noChangeArrowheads="1"/>
            </p:cNvSpPr>
            <p:nvPr/>
          </p:nvSpPr>
          <p:spPr bwMode="auto">
            <a:xfrm>
              <a:off x="557274" y="166565"/>
              <a:ext cx="279637" cy="279637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D40511"/>
              </a:solidFill>
              <a:round/>
              <a:headEnd/>
              <a:tailEnd/>
            </a:ln>
          </p:spPr>
          <p:txBody>
            <a:bodyPr wrap="none" lIns="64008" anchor="ctr"/>
            <a:lstStyle>
              <a:lvl1pPr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Frutiger" panose="020B0500000000000000" pitchFamily="34" charset="0"/>
                  <a:sym typeface="Wingdings 2" panose="05020102010507070707" pitchFamily="18" charset="2"/>
                </a:defRPr>
              </a:lvl9pPr>
            </a:lstStyle>
            <a:p>
              <a:pPr algn="ctr" eaLnBrk="1" hangingPunct="1">
                <a:defRPr/>
              </a:pPr>
              <a:r>
                <a:rPr lang="en-US" altLang="en-US" sz="9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1</a:t>
              </a:r>
              <a:r>
                <a:rPr lang="en-US" altLang="en-US" sz="600" smtClean="0">
                  <a:solidFill>
                    <a:srgbClr val="D4051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%</a:t>
              </a:r>
            </a:p>
          </p:txBody>
        </p:sp>
      </p:grpSp>
      <p:sp>
        <p:nvSpPr>
          <p:cNvPr id="5" name="Bildplatzhalter 6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18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12450" cy="12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abellenplatzhalter 9"/>
          <p:cNvSpPr>
            <a:spLocks noGrp="1"/>
          </p:cNvSpPr>
          <p:nvPr>
            <p:ph type="tbl" sz="quarter" idx="14"/>
          </p:nvPr>
        </p:nvSpPr>
        <p:spPr>
          <a:xfrm>
            <a:off x="468000" y="2088000"/>
            <a:ext cx="3096000" cy="2520000"/>
          </a:xfrm>
          <a:solidFill>
            <a:schemeClr val="accent2">
              <a:alpha val="65000"/>
            </a:schemeClr>
          </a:solidFill>
        </p:spPr>
        <p:txBody>
          <a:bodyPr rtlCol="0" anchor="ctr" anchorCtr="1">
            <a:noAutofit/>
          </a:bodyPr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8000" y="1728000"/>
            <a:ext cx="3096000" cy="324000"/>
          </a:xfrm>
          <a:solidFill>
            <a:schemeClr val="accent2">
              <a:alpha val="65000"/>
            </a:schemeClr>
          </a:solidFill>
        </p:spPr>
        <p:txBody>
          <a:bodyPr lIns="90000" anchor="ctr"/>
          <a:lstStyle>
            <a:lvl1pPr>
              <a:defRPr sz="1200" b="0" cap="all" normalizeH="0" baseline="0">
                <a:solidFill>
                  <a:srgbClr val="FFCC00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460354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1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068418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: only headline - 2 lined headline + black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650707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: 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554306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8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51783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999" y="1774825"/>
            <a:ext cx="3992875" cy="3600000"/>
          </a:xfrm>
        </p:spPr>
        <p:txBody>
          <a:bodyPr/>
          <a:lstStyle>
            <a:lvl1pPr>
              <a:spcBef>
                <a:spcPts val="1400"/>
              </a:spcBef>
              <a:spcAft>
                <a:spcPts val="0"/>
              </a:spcAft>
              <a:defRPr baseline="0"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9226797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16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93454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: full pag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19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lIns="360000" rIns="360000" bIns="1800000" rtlCol="0" anchor="b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dirty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2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4696800" cy="43158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414000" y="419779"/>
            <a:ext cx="1800000" cy="2595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743746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21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2703D0B1-0CA0-4051-8065-FBC7A53D880C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6" name="Straight Connector 10"/>
          <p:cNvCxnSpPr/>
          <p:nvPr/>
        </p:nvCxnSpPr>
        <p:spPr bwMode="gray">
          <a:xfrm>
            <a:off x="414338" y="733425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14000" y="238725"/>
            <a:ext cx="8316000" cy="48097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3186580153"/>
      </p:ext>
    </p:extLst>
  </p:cSld>
  <p:clrMapOvr>
    <a:masterClrMapping/>
  </p:clrMapOvr>
  <p:transition spd="med">
    <p:fade/>
  </p:transition>
  <p:hf hdr="0" dt="0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fld id="{839E964B-DC89-4008-9FF5-37E4492375D8}" type="datetimeFigureOut">
              <a:rPr lang="en-US"/>
              <a:pPr>
                <a:defRPr/>
              </a:pPr>
              <a:t>7/2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41538" y="6224588"/>
            <a:ext cx="6227762" cy="252412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69300" y="6224588"/>
            <a:ext cx="363538" cy="252412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fld id="{89233F53-DFDC-4B39-8803-8C2F95436F4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4383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5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4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2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" name="Rechteck 8"/>
          <p:cNvSpPr/>
          <p:nvPr/>
        </p:nvSpPr>
        <p:spPr bwMode="gray">
          <a:xfrm>
            <a:off x="8369300" y="6375400"/>
            <a:ext cx="363538" cy="2524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49A3E4A7-3F48-49B7-9F7C-C97838FC7E66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4" name="Straight Connector 10"/>
          <p:cNvCxnSpPr/>
          <p:nvPr/>
        </p:nvCxnSpPr>
        <p:spPr bwMode="gray">
          <a:xfrm>
            <a:off x="179388" y="709613"/>
            <a:ext cx="8783637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373813"/>
            <a:ext cx="1258887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661884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: full page gradient" userDrawn="1">
  <p:cSld name="Titl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title"/>
          </p:nvPr>
        </p:nvSpPr>
        <p:spPr>
          <a:xfrm>
            <a:off x="414000" y="1155600"/>
            <a:ext cx="8316000" cy="15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Pts val="4200"/>
              <a:buFont typeface="Arial"/>
              <a:buNone/>
              <a:defRPr sz="4200" b="0" i="0" u="none" strike="noStrike" cap="none">
                <a:solidFill>
                  <a:srgbClr val="D4051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body" idx="1"/>
          </p:nvPr>
        </p:nvSpPr>
        <p:spPr>
          <a:xfrm>
            <a:off x="414000" y="6274800"/>
            <a:ext cx="6048000" cy="187325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3"/>
          </p:nvPr>
        </p:nvSpPr>
        <p:spPr>
          <a:xfrm>
            <a:off x="414000" y="2703600"/>
            <a:ext cx="8316000" cy="402291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4"/>
          </p:nvPr>
        </p:nvSpPr>
        <p:spPr>
          <a:xfrm>
            <a:off x="414000" y="3106800"/>
            <a:ext cx="8316000" cy="514738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body" idx="5"/>
          </p:nvPr>
        </p:nvSpPr>
        <p:spPr>
          <a:xfrm>
            <a:off x="414000" y="3621538"/>
            <a:ext cx="8316000" cy="342000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91425" rIns="91425" bIns="91425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6753830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anchor="b"/>
          <a:lstStyle>
            <a:lvl1pPr>
              <a:lnSpc>
                <a:spcPct val="90000"/>
              </a:lnSpc>
              <a:defRPr sz="315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900" b="1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2" y="2"/>
            <a:ext cx="1702389" cy="187483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675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030400"/>
            <a:ext cx="8316000" cy="325346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746522" rtl="0" eaLnBrk="0" fontAlgn="base" latinLnBrk="0" hangingPunct="0">
              <a:lnSpc>
                <a:spcPct val="100000"/>
              </a:lnSpc>
              <a:spcAft>
                <a:spcPts val="0"/>
              </a:spcAft>
              <a:defRPr sz="1500"/>
            </a:lvl1pPr>
            <a:lvl2pPr marL="0" algn="l" defTabSz="746522" rtl="0" eaLnBrk="0" fontAlgn="base" latinLnBrk="0" hangingPunct="0">
              <a:spcAft>
                <a:spcPts val="1200"/>
              </a:spcAft>
              <a:defRPr lang="en-US" sz="15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2433601"/>
            <a:ext cx="8316000" cy="422405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200"/>
              </a:spcAft>
              <a:defRPr sz="15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2948339"/>
            <a:ext cx="8316000" cy="283906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6858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200"/>
              </a:spcAft>
              <a:defRPr sz="15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3019586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1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7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9"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6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717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1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02751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728000"/>
            <a:ext cx="8261999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Gradient, Arial, 42 pt</a:t>
            </a:r>
          </a:p>
        </p:txBody>
      </p:sp>
      <p:sp>
        <p:nvSpPr>
          <p:cNvPr id="6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CSR | USA | </a:t>
            </a:r>
            <a:r>
              <a:rPr lang="es-MX" sz="909" b="0" dirty="0" err="1" smtClean="0">
                <a:solidFill>
                  <a:srgbClr val="000000"/>
                </a:solidFill>
                <a:latin typeface="Arial"/>
              </a:rPr>
              <a:t>October</a:t>
            </a: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 26, 2017 | Plantation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3747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1" y="1418590"/>
            <a:ext cx="4049999" cy="4586210"/>
          </a:xfrm>
          <a:prstGeom prst="rect">
            <a:avLst/>
          </a:prstGeom>
        </p:spPr>
        <p:txBody>
          <a:bodyPr lIns="0" tIns="0" rIns="0" bIns="0"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1" y="1418590"/>
            <a:ext cx="4049999" cy="4586210"/>
          </a:xfrm>
          <a:prstGeom prst="rect">
            <a:avLst/>
          </a:prstGeom>
        </p:spPr>
        <p:txBody>
          <a:bodyPr lIns="0" tIns="0" rIns="0" bIns="0"/>
          <a:lstStyle>
            <a:lvl1pPr marL="242457" marR="0" indent="-242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3342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5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11"/>
          <p:cNvSpPr/>
          <p:nvPr userDrawn="1"/>
        </p:nvSpPr>
        <p:spPr bwMode="hidden">
          <a:xfrm>
            <a:off x="186058" y="5918380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10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6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3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1" y="1249200"/>
            <a:ext cx="4049999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8482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5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80001" y="5923328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40" y="1418590"/>
            <a:ext cx="8315325" cy="45862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98508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01203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2" y="4484010"/>
            <a:ext cx="5302037" cy="177233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273" b="0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“This space is reserved for quotes. The box adjusts itself to the inserted text. Arial, 25 pt”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55929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6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4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2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3" name="Rechteck 8"/>
          <p:cNvSpPr/>
          <p:nvPr/>
        </p:nvSpPr>
        <p:spPr bwMode="gray">
          <a:xfrm>
            <a:off x="8369300" y="6375400"/>
            <a:ext cx="363538" cy="2524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1B65650D-D80C-4970-B331-E6FC31E5A5D0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4" name="Straight Connector 10"/>
          <p:cNvCxnSpPr/>
          <p:nvPr/>
        </p:nvCxnSpPr>
        <p:spPr bwMode="gray">
          <a:xfrm>
            <a:off x="179388" y="709613"/>
            <a:ext cx="8783637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373813"/>
            <a:ext cx="1258887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038164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1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2727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30 pt”</a:t>
            </a:r>
          </a:p>
        </p:txBody>
      </p:sp>
      <p:sp>
        <p:nvSpPr>
          <p:cNvPr id="5" name="Rechteck 8"/>
          <p:cNvSpPr/>
          <p:nvPr userDrawn="1"/>
        </p:nvSpPr>
        <p:spPr bwMode="gray">
          <a:xfrm>
            <a:off x="8369986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BR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São Paulo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508329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255578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5628465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804499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084520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8000"/>
            <a:ext cx="8316000" cy="432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25 pt”</a:t>
            </a:r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6300897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DBBD357C-3BDF-4D0D-BAB2-A0C0592CF60E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Bild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368" y="6052431"/>
            <a:ext cx="1512000" cy="38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19617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6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42 pt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3999" y="6274804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091" b="1"/>
            </a:lvl1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5688" y="6195612"/>
            <a:ext cx="1800000" cy="259517"/>
          </a:xfrm>
          <a:prstGeom prst="rect">
            <a:avLst/>
          </a:prstGeom>
          <a:noFill/>
        </p:spPr>
      </p:pic>
      <p:sp>
        <p:nvSpPr>
          <p:cNvPr id="8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1" y="2703604"/>
            <a:ext cx="8316000" cy="3742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18"/>
            </a:lvl1pPr>
            <a:lvl2pPr marL="0" algn="l" defTabSz="904885" rtl="0" eaLnBrk="0" fontAlgn="base" latinLnBrk="0" hangingPunct="0">
              <a:spcAft>
                <a:spcPts val="1455"/>
              </a:spcAft>
              <a:defRPr lang="en-US" sz="181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04885" rtl="0" eaLnBrk="0" fontAlgn="base" latinLnBrk="0" hangingPunct="0"/>
            <a:r>
              <a:rPr lang="en-US" dirty="0" err="1"/>
              <a:t>Subline</a:t>
            </a:r>
            <a:r>
              <a:rPr lang="en-US" dirty="0"/>
              <a:t> in one or two lines, Arial, 20 pt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1" y="3106800"/>
            <a:ext cx="8316000" cy="48113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109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455"/>
              </a:spcAft>
              <a:defRPr sz="1818" b="0" baseline="0"/>
            </a:lvl2pPr>
          </a:lstStyle>
          <a:p>
            <a:r>
              <a:rPr lang="en-US" dirty="0"/>
              <a:t>Name of the event or project or presenter, Arial 12 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</p:spTree>
    <p:extLst>
      <p:ext uri="{BB962C8B-B14F-4D97-AF65-F5344CB8AC3E}">
        <p14:creationId xmlns:p14="http://schemas.microsoft.com/office/powerpoint/2010/main" val="2171991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6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4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720398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375107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179388" y="709682"/>
            <a:ext cx="8784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373915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30875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375107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179388" y="709682"/>
            <a:ext cx="8784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373915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164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09627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6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990000"/>
            <a:ext cx="6253201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23"/>
          </p:nvPr>
        </p:nvSpPr>
        <p:spPr bwMode="gray">
          <a:xfrm>
            <a:off x="2143125" y="6224588"/>
            <a:ext cx="6227763" cy="252412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909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2" name="Foliennummernplatzhalter 2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E4B349C-833B-4723-8F66-780A0BC8893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91579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43814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93471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473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126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1894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59468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562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5963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4106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97223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68700"/>
            <a:ext cx="4038600" cy="485746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700"/>
            <a:ext cx="4038600" cy="4857463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5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393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6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/>
          </p:nvPr>
        </p:nvSpPr>
        <p:spPr bwMode="invGray">
          <a:xfrm>
            <a:off x="414000" y="1414800"/>
            <a:ext cx="6253201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112065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0124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5676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4681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7221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7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044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109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2227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47789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66448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3BEDFC5C-75F0-446F-A9D7-0CA608D419F6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414001" y="1728000"/>
            <a:ext cx="8261999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27243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13314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557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498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7368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790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4316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0207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7302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47685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56897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7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779B4FE3-9A93-4312-962D-5A668369FF0B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8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1" y="1418590"/>
            <a:ext cx="4049999" cy="4586210"/>
          </a:xfrm>
          <a:prstGeom prst="rect">
            <a:avLst/>
          </a:prstGeom>
        </p:spPr>
        <p:txBody>
          <a:bodyPr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4680001" y="1418590"/>
            <a:ext cx="4049999" cy="4586210"/>
          </a:xfrm>
          <a:prstGeom prst="rect">
            <a:avLst/>
          </a:prstGeom>
        </p:spPr>
        <p:txBody>
          <a:bodyPr/>
          <a:lstStyle>
            <a:lvl1pPr marL="242457" marR="0" indent="-242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9122759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0812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3783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0961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31767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507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69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3869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65887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46161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41181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7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0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8558CA63-3B96-4F79-83D9-AE8FFB8FF68A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2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Box 43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10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/>
          </p:nvPr>
        </p:nvSpPr>
        <p:spPr bwMode="gray">
          <a:xfrm>
            <a:off x="5499476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/>
          </p:nvPr>
        </p:nvSpPr>
        <p:spPr bwMode="gray">
          <a:xfrm>
            <a:off x="7183463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1" y="1249200"/>
            <a:ext cx="4049999" cy="3129062"/>
          </a:xfrm>
          <a:prstGeom prst="rect">
            <a:avLst/>
          </a:prstGeom>
        </p:spPr>
        <p:txBody>
          <a:bodyPr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561992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915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7044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3074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2547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9674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343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259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6633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1179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9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6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94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5CFEE84D-01A9-4D32-AEEE-59D27780B2B3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9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40" y="1418590"/>
            <a:ext cx="8315325" cy="45862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6129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145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181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5565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568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4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6885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1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7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9"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6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4022430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1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2088221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728000"/>
            <a:ext cx="8261999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Gradient, Arial, 42 pt</a:t>
            </a:r>
          </a:p>
        </p:txBody>
      </p:sp>
      <p:sp>
        <p:nvSpPr>
          <p:cNvPr id="6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9" b="0" dirty="0">
                <a:solidFill>
                  <a:srgbClr val="000000"/>
                </a:solidFill>
                <a:latin typeface="Arial"/>
              </a:rPr>
              <a:t>MI 2017 </a:t>
            </a:r>
            <a:r>
              <a:rPr lang="it-IT" sz="909" b="0" dirty="0" smtClean="0">
                <a:solidFill>
                  <a:srgbClr val="000000"/>
                </a:solidFill>
                <a:latin typeface="Arial"/>
              </a:rPr>
              <a:t>CO Final </a:t>
            </a:r>
            <a:r>
              <a:rPr lang="it-IT" sz="909" b="0" dirty="0">
                <a:solidFill>
                  <a:srgbClr val="000000"/>
                </a:solidFill>
                <a:latin typeface="Arial"/>
              </a:rPr>
              <a:t>Presentation | Toronto | March 2017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271473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1" y="1418590"/>
            <a:ext cx="4049999" cy="4586210"/>
          </a:xfrm>
          <a:prstGeom prst="rect">
            <a:avLst/>
          </a:prstGeom>
        </p:spPr>
        <p:txBody>
          <a:bodyPr lIns="0" tIns="0" rIns="0" bIns="0"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1" y="1418590"/>
            <a:ext cx="4049999" cy="4586210"/>
          </a:xfrm>
          <a:prstGeom prst="rect">
            <a:avLst/>
          </a:prstGeom>
        </p:spPr>
        <p:txBody>
          <a:bodyPr lIns="0" tIns="0" rIns="0" bIns="0"/>
          <a:lstStyle>
            <a:lvl1pPr marL="242457" marR="0" indent="-242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9" b="0" dirty="0">
                <a:solidFill>
                  <a:srgbClr val="000000"/>
                </a:solidFill>
                <a:latin typeface="Arial"/>
              </a:rPr>
              <a:t>MI 2017 </a:t>
            </a:r>
            <a:r>
              <a:rPr lang="it-IT" sz="909" b="0" dirty="0" smtClean="0">
                <a:solidFill>
                  <a:srgbClr val="000000"/>
                </a:solidFill>
                <a:latin typeface="Arial"/>
              </a:rPr>
              <a:t>CO Final </a:t>
            </a:r>
            <a:r>
              <a:rPr lang="it-IT" sz="909" b="0" dirty="0">
                <a:solidFill>
                  <a:srgbClr val="000000"/>
                </a:solidFill>
                <a:latin typeface="Arial"/>
              </a:rPr>
              <a:t>Presentation | Toronto | March 2017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68715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97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97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0BC6BD9F-FC56-4996-87BF-DE39FA3B97C6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7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250453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7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10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6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3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1" y="1249200"/>
            <a:ext cx="4049999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TextBox 24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9" b="0" dirty="0">
                <a:solidFill>
                  <a:srgbClr val="000000"/>
                </a:solidFill>
                <a:latin typeface="Arial"/>
              </a:rPr>
              <a:t>MI 2017 </a:t>
            </a:r>
            <a:r>
              <a:rPr lang="it-IT" sz="909" b="0" dirty="0" smtClean="0">
                <a:solidFill>
                  <a:srgbClr val="000000"/>
                </a:solidFill>
                <a:latin typeface="Arial"/>
              </a:rPr>
              <a:t>CO Final </a:t>
            </a:r>
            <a:r>
              <a:rPr lang="it-IT" sz="909" b="0" dirty="0">
                <a:solidFill>
                  <a:srgbClr val="000000"/>
                </a:solidFill>
                <a:latin typeface="Arial"/>
              </a:rPr>
              <a:t>Presentation | Toronto | March 2017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272786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40" y="1418590"/>
            <a:ext cx="8315325" cy="45862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9" b="0" dirty="0">
                <a:solidFill>
                  <a:srgbClr val="000000"/>
                </a:solidFill>
                <a:latin typeface="Arial"/>
              </a:rPr>
              <a:t>MI 2017 </a:t>
            </a:r>
            <a:r>
              <a:rPr lang="it-IT" sz="909" b="0" dirty="0" smtClean="0">
                <a:solidFill>
                  <a:srgbClr val="000000"/>
                </a:solidFill>
                <a:latin typeface="Arial"/>
              </a:rPr>
              <a:t>CO Final </a:t>
            </a:r>
            <a:r>
              <a:rPr lang="it-IT" sz="909" b="0" dirty="0">
                <a:solidFill>
                  <a:srgbClr val="000000"/>
                </a:solidFill>
                <a:latin typeface="Arial"/>
              </a:rPr>
              <a:t>Presentation | Toronto | March 2017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9954753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9" b="0" dirty="0">
                <a:solidFill>
                  <a:srgbClr val="000000"/>
                </a:solidFill>
                <a:latin typeface="Arial"/>
              </a:rPr>
              <a:t>MI 2017 </a:t>
            </a:r>
            <a:r>
              <a:rPr lang="it-IT" sz="909" b="0" dirty="0" smtClean="0">
                <a:solidFill>
                  <a:srgbClr val="000000"/>
                </a:solidFill>
                <a:latin typeface="Arial"/>
              </a:rPr>
              <a:t>CO Final </a:t>
            </a:r>
            <a:r>
              <a:rPr lang="it-IT" sz="909" b="0" dirty="0">
                <a:solidFill>
                  <a:srgbClr val="000000"/>
                </a:solidFill>
                <a:latin typeface="Arial"/>
              </a:rPr>
              <a:t>Presentation | Toronto | March 2017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229710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2" y="4484010"/>
            <a:ext cx="5302037" cy="177233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273" b="0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“This space is reserved for quotes. The box adjusts itself to the inserted text. Arial, 25 pt”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547603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1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2727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30 pt”</a:t>
            </a:r>
          </a:p>
        </p:txBody>
      </p:sp>
      <p:sp>
        <p:nvSpPr>
          <p:cNvPr id="5" name="Rechteck 8"/>
          <p:cNvSpPr/>
          <p:nvPr userDrawn="1"/>
        </p:nvSpPr>
        <p:spPr bwMode="gray">
          <a:xfrm>
            <a:off x="8369986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909" b="0" dirty="0">
                <a:solidFill>
                  <a:srgbClr val="000000"/>
                </a:solidFill>
                <a:latin typeface="Arial"/>
              </a:rPr>
              <a:t>MI 2017 </a:t>
            </a:r>
            <a:r>
              <a:rPr lang="it-IT" sz="909" b="0" dirty="0" smtClean="0">
                <a:solidFill>
                  <a:srgbClr val="000000"/>
                </a:solidFill>
                <a:latin typeface="Arial"/>
              </a:rPr>
              <a:t>CO Final </a:t>
            </a:r>
            <a:r>
              <a:rPr lang="it-IT" sz="909" b="0" dirty="0">
                <a:solidFill>
                  <a:srgbClr val="000000"/>
                </a:solidFill>
                <a:latin typeface="Arial"/>
              </a:rPr>
              <a:t>Presentation | Toronto | March 2017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432299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020672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5628465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6998683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3167908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8000"/>
            <a:ext cx="8316000" cy="432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25 pt”</a:t>
            </a:r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6300897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DBBD357C-3BDF-4D0D-BAB2-A0C0592CF60E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Bild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68" y="6052431"/>
            <a:ext cx="1512000" cy="38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24902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altLang="en-US" sz="1636" b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18" descr="DHL_Ex_extern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400" y="282575"/>
            <a:ext cx="162083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8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41339" y="850900"/>
            <a:ext cx="6838950" cy="882650"/>
          </a:xfrm>
        </p:spPr>
        <p:txBody>
          <a:bodyPr/>
          <a:lstStyle>
            <a:lvl1pPr>
              <a:defRPr sz="2545" noProof="1"/>
            </a:lvl1pPr>
          </a:lstStyle>
          <a:p>
            <a:r>
              <a:rPr lang="en-US" noProof="1"/>
              <a:t>Titelmasterformat durch Klicken bearbeiten</a:t>
            </a:r>
          </a:p>
        </p:txBody>
      </p:sp>
      <p:sp>
        <p:nvSpPr>
          <p:cNvPr id="11279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339" y="2006606"/>
            <a:ext cx="6838950" cy="536575"/>
          </a:xfrm>
          <a:ln w="0"/>
        </p:spPr>
        <p:txBody>
          <a:bodyPr lIns="0" tIns="0" rIns="0" bIns="0"/>
          <a:lstStyle>
            <a:lvl1pPr marL="0" indent="0">
              <a:lnSpc>
                <a:spcPct val="110000"/>
              </a:lnSpc>
              <a:spcAft>
                <a:spcPct val="0"/>
              </a:spcAft>
              <a:buFontTx/>
              <a:buNone/>
              <a:defRPr sz="1636" noProof="1">
                <a:solidFill>
                  <a:srgbClr val="D40511"/>
                </a:solidFill>
              </a:defRPr>
            </a:lvl1pPr>
          </a:lstStyle>
          <a:p>
            <a:r>
              <a:rPr lang="en-US" noProof="1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676998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7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414002" y="4484010"/>
            <a:ext cx="5302037" cy="177233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lIns="180000" tIns="432000" rIns="180000" bIns="180000" anchor="b">
            <a:spAutoFit/>
          </a:bodyPr>
          <a:lstStyle>
            <a:lvl1pPr>
              <a:defRPr sz="2273" b="0" baseline="0">
                <a:solidFill>
                  <a:srgbClr val="D4051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0234905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7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42 pt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3999" y="6274804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091" b="1"/>
            </a:lvl1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875688" y="6195612"/>
            <a:ext cx="1800000" cy="259517"/>
          </a:xfrm>
          <a:prstGeom prst="rect">
            <a:avLst/>
          </a:prstGeom>
          <a:noFill/>
        </p:spPr>
      </p:pic>
      <p:sp>
        <p:nvSpPr>
          <p:cNvPr id="8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1" y="2703604"/>
            <a:ext cx="8316000" cy="3742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18"/>
            </a:lvl1pPr>
            <a:lvl2pPr marL="0" algn="l" defTabSz="904885" rtl="0" eaLnBrk="0" fontAlgn="base" latinLnBrk="0" hangingPunct="0">
              <a:spcAft>
                <a:spcPts val="1455"/>
              </a:spcAft>
              <a:defRPr lang="en-US" sz="181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04885" rtl="0" eaLnBrk="0" fontAlgn="base" latinLnBrk="0" hangingPunct="0"/>
            <a:r>
              <a:rPr lang="en-US" dirty="0" err="1"/>
              <a:t>Subline</a:t>
            </a:r>
            <a:r>
              <a:rPr lang="en-US" dirty="0"/>
              <a:t> in one or two lines, Arial, 20 pt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1" y="3106800"/>
            <a:ext cx="8316000" cy="48113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109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455"/>
              </a:spcAft>
              <a:defRPr sz="1818" b="0" baseline="0"/>
            </a:lvl2pPr>
          </a:lstStyle>
          <a:p>
            <a:r>
              <a:rPr lang="en-US" dirty="0"/>
              <a:t>Name of the event or project or presenter, Arial 12 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</p:spTree>
    <p:extLst>
      <p:ext uri="{BB962C8B-B14F-4D97-AF65-F5344CB8AC3E}">
        <p14:creationId xmlns:p14="http://schemas.microsoft.com/office/powerpoint/2010/main" val="220677311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4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688940076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99293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2153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68682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541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14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85690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949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185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8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BE78E74D-F064-4560-94F4-66CE2FDE9767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414001" y="1379538"/>
            <a:ext cx="8316000" cy="3408362"/>
          </a:xfrm>
          <a:prstGeom prst="rect">
            <a:avLst/>
          </a:prstGeom>
        </p:spPr>
        <p:txBody>
          <a:bodyPr lIns="900000" rIns="900000" anchor="ctr"/>
          <a:lstStyle>
            <a:lvl1pPr algn="l">
              <a:defRPr sz="2727" b="0">
                <a:solidFill>
                  <a:srgbClr val="D4051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88843977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9702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29464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6610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634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211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5407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85924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1301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4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509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8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3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1" y="46548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271116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1681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4307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77041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25693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734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382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4045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6858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6144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7206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8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tabLst>
                <a:tab pos="5628465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/>
          </p:nvPr>
        </p:nvSpPr>
        <p:spPr bwMode="gray">
          <a:xfrm>
            <a:off x="414001" y="13464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32556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0189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36221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6594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5405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2283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950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566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356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286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4551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3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039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8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36"/>
          <p:cNvSpPr>
            <a:spLocks noGrp="1"/>
          </p:cNvSpPr>
          <p:nvPr>
            <p:ph type="title"/>
          </p:nvPr>
        </p:nvSpPr>
        <p:spPr bwMode="gray">
          <a:xfrm>
            <a:off x="414001" y="1681200"/>
            <a:ext cx="8316000" cy="748800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407904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06402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80892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82739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272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219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6112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1374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065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0137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4446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Quot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11"/>
          <p:cNvSpPr txBox="1">
            <a:spLocks noChangeArrowheads="1"/>
          </p:cNvSpPr>
          <p:nvPr/>
        </p:nvSpPr>
        <p:spPr bwMode="gray">
          <a:xfrm>
            <a:off x="8369300" y="6300788"/>
            <a:ext cx="36353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 eaLnBrk="1" hangingPunct="1">
              <a:defRPr/>
            </a:pPr>
            <a:fld id="{D88F804F-3E28-424E-BE8B-13CB800362B1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" name="Bild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053138"/>
            <a:ext cx="1511300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14000" y="468000"/>
            <a:ext cx="8316000" cy="432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6487442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7432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8324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37245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9645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6758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3169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293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238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0056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9773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1636" b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18" descr="DHL_Ex_extern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400" y="282575"/>
            <a:ext cx="162083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8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41339" y="850900"/>
            <a:ext cx="6838950" cy="882650"/>
          </a:xfrm>
        </p:spPr>
        <p:txBody>
          <a:bodyPr/>
          <a:lstStyle>
            <a:lvl1pPr>
              <a:defRPr sz="2545" noProof="1"/>
            </a:lvl1pPr>
          </a:lstStyle>
          <a:p>
            <a:r>
              <a:rPr lang="en-US" noProof="1"/>
              <a:t>Titelmasterformat durch Klicken bearbeiten</a:t>
            </a:r>
          </a:p>
        </p:txBody>
      </p:sp>
      <p:sp>
        <p:nvSpPr>
          <p:cNvPr id="11279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339" y="2006606"/>
            <a:ext cx="6838950" cy="536575"/>
          </a:xfrm>
          <a:ln w="0"/>
        </p:spPr>
        <p:txBody>
          <a:bodyPr/>
          <a:lstStyle>
            <a:lvl1pPr marL="0" indent="0">
              <a:lnSpc>
                <a:spcPct val="110000"/>
              </a:lnSpc>
              <a:spcAft>
                <a:spcPct val="0"/>
              </a:spcAft>
              <a:buFontTx/>
              <a:buNone/>
              <a:defRPr sz="1636" noProof="1">
                <a:solidFill>
                  <a:srgbClr val="D40511"/>
                </a:solidFill>
              </a:defRPr>
            </a:lvl1pPr>
          </a:lstStyle>
          <a:p>
            <a:r>
              <a:rPr lang="en-US" noProof="1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39925628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74505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0280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403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791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1396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993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8325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7958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1043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1367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3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6196013"/>
            <a:ext cx="180022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1" y="11556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3999" y="6274804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091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1" y="2703604"/>
            <a:ext cx="8316000" cy="3742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18"/>
            </a:lvl1pPr>
            <a:lvl2pPr marL="0" algn="l" defTabSz="904885" rtl="0" eaLnBrk="0" fontAlgn="base" latinLnBrk="0" hangingPunct="0">
              <a:spcAft>
                <a:spcPts val="1455"/>
              </a:spcAft>
              <a:defRPr lang="en-US" sz="181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1" y="3106800"/>
            <a:ext cx="8316000" cy="48113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109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455"/>
              </a:spcAft>
              <a:defRPr sz="1818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3507438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7008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0290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4667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18642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48099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314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110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88385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86025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48134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9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990000"/>
            <a:ext cx="6253201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23"/>
          </p:nvPr>
        </p:nvSpPr>
        <p:spPr bwMode="gray">
          <a:xfrm>
            <a:off x="2143125" y="6224588"/>
            <a:ext cx="6227763" cy="252412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909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2" name="Foliennummernplatzhalter 2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25074AB-6C92-4C12-9AAB-C7DE5434C9B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6018993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15168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617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32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5963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2504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0733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9408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6712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1827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1849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9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/>
          </p:nvPr>
        </p:nvSpPr>
        <p:spPr bwMode="invGray">
          <a:xfrm>
            <a:off x="414000" y="1414800"/>
            <a:ext cx="6253201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7179480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2362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9761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2879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4855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68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245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1319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1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7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9"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6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1560421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1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274870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728000"/>
            <a:ext cx="8261999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Gradient, Arial, 42 pt</a:t>
            </a:r>
          </a:p>
        </p:txBody>
      </p:sp>
      <p:sp>
        <p:nvSpPr>
          <p:cNvPr id="6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CO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Bogotá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97905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9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2A0A91AA-970D-4B09-B996-57711C35F824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414001" y="1728000"/>
            <a:ext cx="8261999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041784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1" y="1418590"/>
            <a:ext cx="4049999" cy="4586210"/>
          </a:xfrm>
          <a:prstGeom prst="rect">
            <a:avLst/>
          </a:prstGeom>
        </p:spPr>
        <p:txBody>
          <a:bodyPr lIns="0" tIns="0" rIns="0" bIns="0"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1" y="1418590"/>
            <a:ext cx="4049999" cy="4586210"/>
          </a:xfrm>
          <a:prstGeom prst="rect">
            <a:avLst/>
          </a:prstGeom>
        </p:spPr>
        <p:txBody>
          <a:bodyPr lIns="0" tIns="0" rIns="0" bIns="0"/>
          <a:lstStyle>
            <a:lvl1pPr marL="242457" marR="0" indent="-242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CO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Bogotá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4041271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2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10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6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3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1" y="1249200"/>
            <a:ext cx="4049999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TextBox 24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CO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Bogotá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2577193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40" y="1418590"/>
            <a:ext cx="8315325" cy="45862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CO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Bogotá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1265298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2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2019 PE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Lima</a:t>
            </a:r>
            <a:r>
              <a:rPr lang="es-MX" sz="909" b="0" baseline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|  </a:t>
            </a:r>
            <a:r>
              <a:rPr lang="es-MX" sz="909" b="0" dirty="0" err="1" smtClean="0">
                <a:solidFill>
                  <a:srgbClr val="000000"/>
                </a:solidFill>
                <a:latin typeface="Arial"/>
              </a:rPr>
              <a:t>May</a:t>
            </a:r>
            <a:r>
              <a:rPr lang="es-MX" sz="909" b="0" baseline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2019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941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2" y="4484010"/>
            <a:ext cx="5302037" cy="177233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273" b="0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“This space is reserved for quotes. The box adjusts itself to the inserted text. Arial, 25 pt”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3895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1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2727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30 pt”</a:t>
            </a:r>
          </a:p>
        </p:txBody>
      </p:sp>
      <p:sp>
        <p:nvSpPr>
          <p:cNvPr id="5" name="Rechteck 8"/>
          <p:cNvSpPr/>
          <p:nvPr userDrawn="1"/>
        </p:nvSpPr>
        <p:spPr bwMode="gray">
          <a:xfrm>
            <a:off x="8369986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2019 PE</a:t>
            </a:r>
            <a:r>
              <a:rPr lang="es-MX" sz="909" b="0" baseline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Lima</a:t>
            </a:r>
            <a:r>
              <a:rPr lang="es-MX" sz="909" b="0" baseline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|  </a:t>
            </a:r>
            <a:r>
              <a:rPr lang="es-MX" sz="909" b="0" dirty="0" err="1" smtClean="0">
                <a:solidFill>
                  <a:srgbClr val="000000"/>
                </a:solidFill>
                <a:latin typeface="Arial"/>
              </a:rPr>
              <a:t>May</a:t>
            </a:r>
            <a:r>
              <a:rPr lang="es-MX" sz="909" b="0" baseline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es-MX" sz="909" b="0" dirty="0" smtClean="0">
                <a:solidFill>
                  <a:srgbClr val="000000"/>
                </a:solidFill>
                <a:latin typeface="Arial"/>
              </a:rPr>
              <a:t>2019</a:t>
            </a:r>
            <a:endParaRPr lang="es-MX" sz="909" b="0" dirty="0">
              <a:solidFill>
                <a:srgbClr val="000000"/>
              </a:solidFill>
              <a:latin typeface="Arial"/>
            </a:endParaRP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5396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00681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5628465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1794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0007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8000"/>
            <a:ext cx="8316000" cy="432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25 pt”</a:t>
            </a:r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6300897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DBBD357C-3BDF-4D0D-BAB2-A0C0592CF60E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Bild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68" y="6052431"/>
            <a:ext cx="1512000" cy="38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34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0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8473FB5D-0506-40BB-B9AA-3E6CD57BB8E4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8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1" y="1418590"/>
            <a:ext cx="4049999" cy="4586210"/>
          </a:xfrm>
          <a:prstGeom prst="rect">
            <a:avLst/>
          </a:prstGeom>
        </p:spPr>
        <p:txBody>
          <a:bodyPr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4680001" y="1418590"/>
            <a:ext cx="4049999" cy="4586210"/>
          </a:xfrm>
          <a:prstGeom prst="rect">
            <a:avLst/>
          </a:prstGeom>
        </p:spPr>
        <p:txBody>
          <a:bodyPr/>
          <a:lstStyle>
            <a:lvl1pPr marL="242457" marR="0" indent="-242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543333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altLang="en-US" sz="1636" b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18" descr="DHL_Ex_extern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400" y="282575"/>
            <a:ext cx="162083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8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41339" y="850900"/>
            <a:ext cx="6838950" cy="882650"/>
          </a:xfrm>
        </p:spPr>
        <p:txBody>
          <a:bodyPr/>
          <a:lstStyle>
            <a:lvl1pPr>
              <a:defRPr sz="2545" noProof="1"/>
            </a:lvl1pPr>
          </a:lstStyle>
          <a:p>
            <a:r>
              <a:rPr lang="en-US" noProof="1"/>
              <a:t>Titelmasterformat durch Klicken bearbeiten</a:t>
            </a:r>
          </a:p>
        </p:txBody>
      </p:sp>
      <p:sp>
        <p:nvSpPr>
          <p:cNvPr id="11279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339" y="2006606"/>
            <a:ext cx="6838950" cy="536575"/>
          </a:xfrm>
          <a:ln w="0"/>
        </p:spPr>
        <p:txBody>
          <a:bodyPr lIns="0" tIns="0" rIns="0" bIns="0"/>
          <a:lstStyle>
            <a:lvl1pPr marL="0" indent="0">
              <a:lnSpc>
                <a:spcPct val="110000"/>
              </a:lnSpc>
              <a:spcAft>
                <a:spcPct val="0"/>
              </a:spcAft>
              <a:buFontTx/>
              <a:buNone/>
              <a:defRPr sz="1636" noProof="1">
                <a:solidFill>
                  <a:srgbClr val="D40511"/>
                </a:solidFill>
              </a:defRPr>
            </a:lvl1pPr>
          </a:lstStyle>
          <a:p>
            <a:r>
              <a:rPr lang="en-US" noProof="1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07974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31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42 pt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3999" y="6274804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091" b="1"/>
            </a:lvl1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875688" y="6195612"/>
            <a:ext cx="1800000" cy="259517"/>
          </a:xfrm>
          <a:prstGeom prst="rect">
            <a:avLst/>
          </a:prstGeom>
          <a:noFill/>
        </p:spPr>
      </p:pic>
      <p:sp>
        <p:nvSpPr>
          <p:cNvPr id="8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1" y="2703604"/>
            <a:ext cx="8316000" cy="3742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18"/>
            </a:lvl1pPr>
            <a:lvl2pPr marL="0" algn="l" defTabSz="904885" rtl="0" eaLnBrk="0" fontAlgn="base" latinLnBrk="0" hangingPunct="0">
              <a:spcAft>
                <a:spcPts val="1455"/>
              </a:spcAft>
              <a:defRPr lang="en-US" sz="181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04885" rtl="0" eaLnBrk="0" fontAlgn="base" latinLnBrk="0" hangingPunct="0"/>
            <a:r>
              <a:rPr lang="en-US" dirty="0" err="1"/>
              <a:t>Subline</a:t>
            </a:r>
            <a:r>
              <a:rPr lang="en-US" dirty="0"/>
              <a:t> in one or two lines, Arial, 20 pt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1" y="3106800"/>
            <a:ext cx="8316000" cy="48113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109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455"/>
              </a:spcAft>
              <a:defRPr sz="1818" b="0" baseline="0"/>
            </a:lvl2pPr>
          </a:lstStyle>
          <a:p>
            <a:r>
              <a:rPr lang="en-US" dirty="0"/>
              <a:t>Name of the event or project or presenter, Arial 12 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</p:spTree>
    <p:extLst>
      <p:ext uri="{BB962C8B-B14F-4D97-AF65-F5344CB8AC3E}">
        <p14:creationId xmlns:p14="http://schemas.microsoft.com/office/powerpoint/2010/main" val="4088095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8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4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605830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2244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81143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52785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83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602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0539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3748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0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0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5BC97063-D244-4D8C-B0BA-8045CC451B33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2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Box 43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10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/>
          </p:nvPr>
        </p:nvSpPr>
        <p:spPr bwMode="gray">
          <a:xfrm>
            <a:off x="5499476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/>
          </p:nvPr>
        </p:nvSpPr>
        <p:spPr bwMode="gray">
          <a:xfrm>
            <a:off x="7183463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1" y="1249200"/>
            <a:ext cx="4049999" cy="3129062"/>
          </a:xfrm>
          <a:prstGeom prst="rect">
            <a:avLst/>
          </a:prstGeom>
        </p:spPr>
        <p:txBody>
          <a:bodyPr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336238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9515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0638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1385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2134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309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2920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3829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6792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8179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59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2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6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26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4F6F467E-2803-43B8-9086-5C8CE46C446E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9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40" y="1418590"/>
            <a:ext cx="8315325" cy="45862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3092311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061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3383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17637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9193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0330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504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868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5096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1329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13426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3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1910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2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28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E8ED7B15-A81A-43DF-923B-38A23046CE48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7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164389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196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85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84197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2604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75109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2010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9773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6211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34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404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1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414002" y="4484010"/>
            <a:ext cx="5302037" cy="177233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lIns="180000" tIns="432000" rIns="180000" bIns="180000" anchor="b">
            <a:spAutoFit/>
          </a:bodyPr>
          <a:lstStyle>
            <a:lvl1pPr>
              <a:defRPr sz="2273" b="0" baseline="0">
                <a:solidFill>
                  <a:srgbClr val="D4051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9980828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26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0544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7150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17933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47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514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2315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63210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44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07871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1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E2497342-134E-4EC4-A5E6-05A1B2A4DE52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414001" y="1379538"/>
            <a:ext cx="8316000" cy="3408362"/>
          </a:xfrm>
          <a:prstGeom prst="rect">
            <a:avLst/>
          </a:prstGeom>
        </p:spPr>
        <p:txBody>
          <a:bodyPr lIns="900000" rIns="900000" anchor="ctr"/>
          <a:lstStyle>
            <a:lvl1pPr algn="l">
              <a:defRPr sz="2727" b="0">
                <a:solidFill>
                  <a:srgbClr val="D4051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9874581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7208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5305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561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4605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4847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0959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4530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718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983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888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3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1" y="46548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322796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65970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24684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7945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81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4823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3167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8858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506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9123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6048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1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tabLst>
                <a:tab pos="5628465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/>
          </p:nvPr>
        </p:nvSpPr>
        <p:spPr bwMode="gray">
          <a:xfrm>
            <a:off x="414001" y="13464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3700770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71874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4204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533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0358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23940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77476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24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315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540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86381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2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36"/>
          <p:cNvSpPr>
            <a:spLocks noGrp="1"/>
          </p:cNvSpPr>
          <p:nvPr>
            <p:ph type="title"/>
          </p:nvPr>
        </p:nvSpPr>
        <p:spPr bwMode="gray">
          <a:xfrm>
            <a:off x="414001" y="1681200"/>
            <a:ext cx="8316000" cy="748800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561182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43932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87889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6163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252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00631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5747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4711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9357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354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35130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Quot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11"/>
          <p:cNvSpPr txBox="1">
            <a:spLocks noChangeArrowheads="1"/>
          </p:cNvSpPr>
          <p:nvPr/>
        </p:nvSpPr>
        <p:spPr bwMode="gray">
          <a:xfrm>
            <a:off x="8369300" y="6300788"/>
            <a:ext cx="36353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 eaLnBrk="1" hangingPunct="1">
              <a:defRPr/>
            </a:pPr>
            <a:fld id="{FF320825-34F4-4F22-9E79-2FAC27CB2438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" name="Bild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053138"/>
            <a:ext cx="1511300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14000" y="468000"/>
            <a:ext cx="8316000" cy="432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509788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29937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085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2421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1136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166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066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083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57006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99416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57570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1636" b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18" descr="DHL_Ex_extern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400" y="282575"/>
            <a:ext cx="162083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8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41339" y="850900"/>
            <a:ext cx="6838950" cy="882650"/>
          </a:xfrm>
        </p:spPr>
        <p:txBody>
          <a:bodyPr/>
          <a:lstStyle>
            <a:lvl1pPr>
              <a:defRPr sz="2545" noProof="1"/>
            </a:lvl1pPr>
          </a:lstStyle>
          <a:p>
            <a:r>
              <a:rPr lang="en-US" noProof="1"/>
              <a:t>Titelmasterformat durch Klicken bearbeiten</a:t>
            </a:r>
          </a:p>
        </p:txBody>
      </p:sp>
      <p:sp>
        <p:nvSpPr>
          <p:cNvPr id="11279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339" y="2006606"/>
            <a:ext cx="6838950" cy="536575"/>
          </a:xfrm>
          <a:ln w="0"/>
        </p:spPr>
        <p:txBody>
          <a:bodyPr/>
          <a:lstStyle>
            <a:lvl1pPr marL="0" indent="0">
              <a:lnSpc>
                <a:spcPct val="110000"/>
              </a:lnSpc>
              <a:spcAft>
                <a:spcPct val="0"/>
              </a:spcAft>
              <a:buFontTx/>
              <a:buNone/>
              <a:defRPr sz="1636" noProof="1">
                <a:solidFill>
                  <a:srgbClr val="D40511"/>
                </a:solidFill>
              </a:defRPr>
            </a:lvl1pPr>
          </a:lstStyle>
          <a:p>
            <a:r>
              <a:rPr lang="en-US" noProof="1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96035020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40333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5106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462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78618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41855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8695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0557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641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3515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0652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3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2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6196013"/>
            <a:ext cx="180022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1" y="11556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3999" y="6274804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091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1" y="2703604"/>
            <a:ext cx="8316000" cy="3742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18"/>
            </a:lvl1pPr>
            <a:lvl2pPr marL="0" algn="l" defTabSz="904885" rtl="0" eaLnBrk="0" fontAlgn="base" latinLnBrk="0" hangingPunct="0">
              <a:spcAft>
                <a:spcPts val="1455"/>
              </a:spcAft>
              <a:defRPr lang="en-US" sz="181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1" y="3106800"/>
            <a:ext cx="8316000" cy="48113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109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455"/>
              </a:spcAft>
              <a:defRPr sz="1818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4327445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2811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64175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3609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</a:t>
            </a:r>
            <a:r>
              <a:rPr lang="en-US" smtClean="0">
                <a:solidFill>
                  <a:srgbClr val="000000"/>
                </a:solidFill>
              </a:rPr>
              <a:t>| Location </a:t>
            </a:r>
            <a:r>
              <a:rPr lang="en-US" dirty="0" smtClean="0">
                <a:solidFill>
                  <a:srgbClr val="000000"/>
                </a:solidFill>
              </a:rPr>
              <a:t>| xx Month 20xx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6297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440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461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3970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2394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55364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6550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2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990000"/>
            <a:ext cx="6253201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23"/>
          </p:nvPr>
        </p:nvSpPr>
        <p:spPr bwMode="gray">
          <a:xfrm>
            <a:off x="2143125" y="6224588"/>
            <a:ext cx="6227763" cy="252412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909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2" name="Foliennummernplatzhalter 2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A906AB1-8018-40D0-8974-093B30363D7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8721916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66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72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33030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88865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3865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6045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56624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37391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3104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850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268700"/>
            <a:ext cx="4038600" cy="518472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700"/>
            <a:ext cx="4038600" cy="518472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5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553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2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/>
          </p:nvPr>
        </p:nvSpPr>
        <p:spPr bwMode="invGray">
          <a:xfrm>
            <a:off x="414000" y="1414800"/>
            <a:ext cx="6253201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1900608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6230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9754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1071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129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172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104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04657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74531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32275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055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3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E769BBF0-325C-4F3D-9A10-13A250F6B29A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414001" y="1728000"/>
            <a:ext cx="8261999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890894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234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2993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4250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2171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772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4653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3887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99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0195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4648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3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DA9FA3E4-48F2-4DB2-AAED-B79E2C0C4AB5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8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1" y="1418590"/>
            <a:ext cx="4049999" cy="4586210"/>
          </a:xfrm>
          <a:prstGeom prst="rect">
            <a:avLst/>
          </a:prstGeom>
        </p:spPr>
        <p:txBody>
          <a:bodyPr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4680001" y="1418590"/>
            <a:ext cx="4049999" cy="4586210"/>
          </a:xfrm>
          <a:prstGeom prst="rect">
            <a:avLst/>
          </a:prstGeom>
        </p:spPr>
        <p:txBody>
          <a:bodyPr/>
          <a:lstStyle>
            <a:lvl1pPr marL="242457" marR="0" indent="-242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218693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576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0334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315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861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452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8895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62159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33264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351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1835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3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0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3C09B3AB-ADCF-461A-B442-5D62346D3695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2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Box 43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10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/>
          </p:nvPr>
        </p:nvSpPr>
        <p:spPr bwMode="gray">
          <a:xfrm>
            <a:off x="5499476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/>
          </p:nvPr>
        </p:nvSpPr>
        <p:spPr bwMode="gray">
          <a:xfrm>
            <a:off x="7183463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1" y="1249200"/>
            <a:ext cx="4049999" cy="3129062"/>
          </a:xfrm>
          <a:prstGeom prst="rect">
            <a:avLst/>
          </a:prstGeom>
        </p:spPr>
        <p:txBody>
          <a:bodyPr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909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474054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571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45561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8005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9518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3884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7747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89949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2437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2793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1666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57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6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57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FF99BEC0-C82C-4E55-B0BE-39E473D4E074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9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40" y="1418590"/>
            <a:ext cx="8315325" cy="45862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4755910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1404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491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776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510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05884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1223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11157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757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288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4172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5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24" name="Object 30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59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30909" tIns="130909" rIns="130909" bIns="130909" anchor="ctr"/>
          <a:lstStyle/>
          <a:p>
            <a:pPr defTabSz="904885">
              <a:defRPr/>
            </a:pPr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8031D7A0-F2DC-4AC4-BEA6-83CBBF4253A4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7" name="Straight Connector 10"/>
          <p:cNvCxnSpPr/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910517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5981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6417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2561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7877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5851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49594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8702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369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2713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6268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4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414002" y="4484010"/>
            <a:ext cx="5302037" cy="177233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lIns="180000" tIns="432000" rIns="180000" bIns="180000" anchor="b">
            <a:spAutoFit/>
          </a:bodyPr>
          <a:lstStyle>
            <a:lvl1pPr>
              <a:defRPr sz="2273" b="0" baseline="0">
                <a:solidFill>
                  <a:srgbClr val="D4051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3003441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455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574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8809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81685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78792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36211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193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024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862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54853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4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8"/>
          <p:cNvSpPr/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b"/>
          <a:lstStyle/>
          <a:p>
            <a:pPr algn="r" defTabSz="904885">
              <a:defRPr/>
            </a:pPr>
            <a:fld id="{5C447D6A-F8A2-41A4-B621-57AA85A60EFA}" type="slidenum">
              <a:rPr lang="en-US" sz="909" b="0">
                <a:solidFill>
                  <a:srgbClr val="000000"/>
                </a:solidFill>
                <a:latin typeface="Arial"/>
              </a:rPr>
              <a:pPr algn="r" defTabSz="904885">
                <a:defRPr/>
              </a:pPr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 userDrawn="1"/>
        </p:nvSpPr>
        <p:spPr>
          <a:xfrm>
            <a:off x="5422900" y="6342063"/>
            <a:ext cx="3306763" cy="3556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909" b="0" dirty="0">
                <a:solidFill>
                  <a:srgbClr val="000000"/>
                </a:solidFill>
                <a:latin typeface="Arial"/>
              </a:rPr>
              <a:t>MI 2017 MX Final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ES" sz="909" b="0" dirty="0" err="1">
                <a:solidFill>
                  <a:srgbClr val="000000"/>
                </a:solidFill>
                <a:latin typeface="Arial"/>
              </a:rPr>
              <a:t>Mexico</a:t>
            </a:r>
            <a:r>
              <a:rPr lang="es-ES" sz="909" b="0" dirty="0">
                <a:solidFill>
                  <a:srgbClr val="000000"/>
                </a:solidFill>
                <a:latin typeface="Arial"/>
              </a:rPr>
              <a:t> City 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defRPr/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414001" y="1379538"/>
            <a:ext cx="8316000" cy="3408362"/>
          </a:xfrm>
          <a:prstGeom prst="rect">
            <a:avLst/>
          </a:prstGeom>
        </p:spPr>
        <p:txBody>
          <a:bodyPr lIns="900000" rIns="900000" anchor="ctr"/>
          <a:lstStyle>
            <a:lvl1pPr algn="l">
              <a:defRPr sz="2727" b="0">
                <a:solidFill>
                  <a:srgbClr val="D4051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795704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7272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5812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396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4217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3173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74139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6033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6623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9036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750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4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3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1" y="46548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079072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8659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25486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30874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46265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9773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719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498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9595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396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1830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4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tabLst>
                <a:tab pos="5628465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/>
          </p:nvPr>
        </p:nvSpPr>
        <p:spPr bwMode="gray">
          <a:xfrm>
            <a:off x="414001" y="13464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 wrap="none" anchor="b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5973992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160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6492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582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4474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0728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3622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0742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53528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582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433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166018"/>
            <a:ext cx="4038600" cy="52153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6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5267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5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36"/>
          <p:cNvSpPr>
            <a:spLocks noGrp="1"/>
          </p:cNvSpPr>
          <p:nvPr>
            <p:ph type="title"/>
          </p:nvPr>
        </p:nvSpPr>
        <p:spPr bwMode="gray">
          <a:xfrm>
            <a:off x="414001" y="1681200"/>
            <a:ext cx="8316000" cy="748800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997409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1756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51580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65633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49520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8569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6273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1433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2755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6406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4693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Quot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11"/>
          <p:cNvSpPr txBox="1">
            <a:spLocks noChangeArrowheads="1"/>
          </p:cNvSpPr>
          <p:nvPr/>
        </p:nvSpPr>
        <p:spPr bwMode="gray">
          <a:xfrm>
            <a:off x="8369300" y="6300788"/>
            <a:ext cx="363538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 eaLnBrk="1" hangingPunct="1">
              <a:defRPr/>
            </a:pPr>
            <a:fld id="{9D0F8B85-3E38-4AA8-8646-1B5F8207488E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" name="Bild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053138"/>
            <a:ext cx="1511300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14000" y="468000"/>
            <a:ext cx="8316000" cy="432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1013260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3600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236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18930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6655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5880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9296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4245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916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14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9704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1636" b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18" descr="DHL_Ex_extern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400" y="282575"/>
            <a:ext cx="162083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8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41339" y="850900"/>
            <a:ext cx="6838950" cy="882650"/>
          </a:xfrm>
        </p:spPr>
        <p:txBody>
          <a:bodyPr/>
          <a:lstStyle>
            <a:lvl1pPr>
              <a:defRPr sz="2545" noProof="1"/>
            </a:lvl1pPr>
          </a:lstStyle>
          <a:p>
            <a:r>
              <a:rPr lang="en-US" noProof="1"/>
              <a:t>Titelmasterformat durch Klicken bearbeiten</a:t>
            </a:r>
          </a:p>
        </p:txBody>
      </p:sp>
      <p:sp>
        <p:nvSpPr>
          <p:cNvPr id="11279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339" y="2006606"/>
            <a:ext cx="6838950" cy="536575"/>
          </a:xfrm>
          <a:ln w="0"/>
        </p:spPr>
        <p:txBody>
          <a:bodyPr/>
          <a:lstStyle>
            <a:lvl1pPr marL="0" indent="0">
              <a:lnSpc>
                <a:spcPct val="110000"/>
              </a:lnSpc>
              <a:spcAft>
                <a:spcPct val="0"/>
              </a:spcAft>
              <a:buFontTx/>
              <a:buNone/>
              <a:defRPr sz="1636" noProof="1">
                <a:solidFill>
                  <a:srgbClr val="D40511"/>
                </a:solidFill>
              </a:defRPr>
            </a:lvl1pPr>
          </a:lstStyle>
          <a:p>
            <a:r>
              <a:rPr lang="en-US" noProof="1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34674511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97021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11842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90905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55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19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3833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95297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5244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9884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413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3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5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6196013"/>
            <a:ext cx="180022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1" y="11556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/>
          </p:nvPr>
        </p:nvSpPr>
        <p:spPr bwMode="gray">
          <a:xfrm>
            <a:off x="413999" y="6274804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091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tIns="828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8"/>
          </p:nvPr>
        </p:nvSpPr>
        <p:spPr>
          <a:xfrm>
            <a:off x="414001" y="2703604"/>
            <a:ext cx="8316000" cy="3742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18"/>
            </a:lvl1pPr>
            <a:lvl2pPr marL="0" algn="l" defTabSz="904885" rtl="0" eaLnBrk="0" fontAlgn="base" latinLnBrk="0" hangingPunct="0">
              <a:spcAft>
                <a:spcPts val="1455"/>
              </a:spcAft>
              <a:defRPr lang="en-US" sz="181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/>
          </p:nvPr>
        </p:nvSpPr>
        <p:spPr>
          <a:xfrm>
            <a:off x="414001" y="3106800"/>
            <a:ext cx="8316000" cy="48113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109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455"/>
              </a:spcAft>
              <a:defRPr sz="1818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6508106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5622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13458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426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09192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8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5747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601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563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8618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41741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7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4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C1781E72-B930-47E3-977F-A8B990708028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4818825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40308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55055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137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45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0191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8125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2371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8168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2984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30195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8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4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EA0499CA-F265-4F48-B64F-D896812D0323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4950865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5685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80612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6240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7337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2347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135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093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36727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>
            <a:off x="180000" y="5232400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4824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13600"/>
            <a:ext cx="6048000" cy="216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 baseline="0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6131104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0304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4336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9483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58482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8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 Placeholder 30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1" y="180975"/>
            <a:ext cx="8784000" cy="144145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7812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46400"/>
            <a:ext cx="5486400" cy="23698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200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5688" y="465619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292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324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471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81428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6196013"/>
            <a:ext cx="1800225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36"/>
          <p:cNvSpPr>
            <a:spLocks noGrp="1"/>
          </p:cNvSpPr>
          <p:nvPr>
            <p:ph type="title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/>
          <a:lstStyle>
            <a:lvl1pPr>
              <a:defRPr sz="12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46800" bIns="46800" rtlCol="0"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44000" rtlCol="0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149927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AMPLE TITLE ONE OR</a:t>
            </a:r>
            <a:br>
              <a:rPr lang="en-US" dirty="0" smtClean="0"/>
            </a:br>
            <a:r>
              <a:rPr lang="en-US" dirty="0" smtClean="0"/>
              <a:t>TWO LINES, Arial, 42 </a:t>
            </a:r>
            <a:r>
              <a:rPr lang="en-US" dirty="0" err="1" smtClean="0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6274800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="1"/>
            </a:lvl1pPr>
          </a:lstStyle>
          <a:p>
            <a:pPr lvl="0"/>
            <a:r>
              <a:rPr lang="en-US" dirty="0" smtClean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5688" y="6195608"/>
            <a:ext cx="1800000" cy="259517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703600"/>
            <a:ext cx="8316000" cy="40229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20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 smtClean="0"/>
              <a:t>Subline in one or two lines, Arial, 20 </a:t>
            </a:r>
            <a:r>
              <a:rPr lang="en-US" dirty="0" err="1" smtClean="0"/>
              <a:t>pt</a:t>
            </a:r>
            <a:endParaRPr lang="en-US" dirty="0" smtClean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3106800"/>
            <a:ext cx="8316000" cy="5147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Name of the event or project or presenter, Arial, 12 </a:t>
            </a:r>
            <a:r>
              <a:rPr lang="en-US" dirty="0" err="1" smtClean="0"/>
              <a:t>p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Location, ## Month ####</a:t>
            </a:r>
          </a:p>
        </p:txBody>
      </p:sp>
      <p:sp>
        <p:nvSpPr>
          <p:cNvPr id="10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621538"/>
            <a:ext cx="8316000" cy="342000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 smtClean="0"/>
              <a:t>DHL Business Unit – Excellence. Simply delivered., Arial (bold), 12 </a:t>
            </a:r>
            <a:r>
              <a:rPr lang="en-US" dirty="0" err="1" smtClean="0"/>
              <a:t>pt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07805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68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Month 20xx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281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image, </a:t>
            </a:r>
            <a:r>
              <a:rPr lang="en-US" dirty="0" err="1" smtClean="0"/>
              <a:t>arial</a:t>
            </a:r>
            <a:r>
              <a:rPr lang="en-US" dirty="0" smtClean="0"/>
              <a:t>, 42 pt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406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section divider with Gradient, Arial, 42 pt</a:t>
            </a:r>
            <a:endParaRPr lang="en-US" dirty="0"/>
          </a:p>
        </p:txBody>
      </p:sp>
      <p:sp>
        <p:nvSpPr>
          <p:cNvPr id="6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05780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2417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41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  <a:p>
            <a:r>
              <a:rPr lang="en-US" dirty="0" smtClean="0"/>
              <a:t>Sample section</a:t>
            </a:r>
          </a:p>
          <a:p>
            <a:pPr lvl="1"/>
            <a:r>
              <a:rPr lang="fr-FR" dirty="0" err="1" smtClean="0"/>
              <a:t>Lorem</a:t>
            </a:r>
            <a:r>
              <a:rPr lang="fr-FR" dirty="0" smtClean="0"/>
              <a:t> </a:t>
            </a:r>
            <a:r>
              <a:rPr lang="fr-FR" dirty="0" err="1" smtClean="0"/>
              <a:t>ipsum</a:t>
            </a:r>
            <a:r>
              <a:rPr lang="fr-FR" dirty="0" smtClean="0"/>
              <a:t> </a:t>
            </a:r>
            <a:r>
              <a:rPr lang="fr-FR" dirty="0" err="1" smtClean="0"/>
              <a:t>dolore</a:t>
            </a:r>
            <a:r>
              <a:rPr lang="fr-FR" dirty="0" smtClean="0"/>
              <a:t> est consista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/>
            </a:lvl1pPr>
          </a:lstStyle>
          <a:p>
            <a:pPr lvl="0"/>
            <a:r>
              <a:rPr lang="en-US" dirty="0" smtClean="0"/>
              <a:t>Section #</a:t>
            </a:r>
            <a:endParaRPr lang="en-US"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54741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3306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921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053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778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8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7BA71DD2-A83F-4AA2-AB3A-8F2F2063E2AC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990000"/>
            <a:ext cx="6253200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Footer Placeholder 2"/>
          <p:cNvSpPr>
            <a:spLocks noGrp="1"/>
          </p:cNvSpPr>
          <p:nvPr>
            <p:ph type="ftr" sz="quarter" idx="23"/>
          </p:nvPr>
        </p:nvSpPr>
        <p:spPr>
          <a:xfrm>
            <a:off x="2143125" y="6224588"/>
            <a:ext cx="6227763" cy="252412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  <p:sp>
        <p:nvSpPr>
          <p:cNvPr id="35" name="Foliennummernplatzhalter 23"/>
          <p:cNvSpPr>
            <a:spLocks noGrp="1"/>
          </p:cNvSpPr>
          <p:nvPr>
            <p:ph type="sldNum" sz="quarter" idx="24"/>
          </p:nvPr>
        </p:nvSpPr>
        <p:spPr bwMode="gray">
          <a:xfrm>
            <a:off x="8369300" y="6224588"/>
            <a:ext cx="363538" cy="252412"/>
          </a:xfrm>
          <a:prstGeom prst="rect">
            <a:avLst/>
          </a:prstGeom>
          <a:ln cap="flat" algn="ctr">
            <a:round/>
            <a:headEnd type="none" w="med" len="med"/>
            <a:tailEnd type="none" w="med" len="med"/>
          </a:ln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000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CDF9870-028D-4968-B8CF-F2D5023F7B8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7615943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7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smtClean="0"/>
              <a:t>Click icon to add picture</a:t>
            </a:r>
            <a:endParaRPr lang="en-US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9285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8271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 smtClean="0"/>
              <a:t>“This space is reserved for quotes. </a:t>
            </a:r>
            <a:br>
              <a:rPr lang="en-US" dirty="0" smtClean="0"/>
            </a:br>
            <a:r>
              <a:rPr lang="en-US" dirty="0" smtClean="0"/>
              <a:t>Arial, 30 pt”</a:t>
            </a:r>
            <a:endParaRPr lang="en-US" dirty="0"/>
          </a:p>
        </p:txBody>
      </p:sp>
      <p:sp>
        <p:nvSpPr>
          <p:cNvPr id="5" name="Rechteck 8"/>
          <p:cNvSpPr/>
          <p:nvPr/>
        </p:nvSpPr>
        <p:spPr bwMode="gray">
          <a:xfrm>
            <a:off x="8369985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782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11"/>
          <p:cNvSpPr/>
          <p:nvPr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Presentation title | Location | xx </a:t>
            </a:r>
            <a:r>
              <a:rPr lang="en-US" smtClean="0">
                <a:solidFill>
                  <a:srgbClr val="000000"/>
                </a:solidFill>
              </a:rPr>
              <a:t>Month 20xx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414000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0459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545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900" b="1" dirty="0" smtClean="0">
                <a:solidFill>
                  <a:schemeClr val="accent1"/>
                </a:solidFill>
              </a:rPr>
              <a:t>PLEASE INSERT CLASSIFICATION HERE</a:t>
            </a:r>
            <a:endParaRPr lang="en-US" sz="900" b="1" kern="0" cap="all" baseline="0" dirty="0" smtClean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 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511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8428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0" y="990000"/>
            <a:ext cx="6253201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1"/>
          </p:nvPr>
        </p:nvSpPr>
        <p:spPr bwMode="gray">
          <a:xfrm>
            <a:off x="214357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9">
                <a:solidFill>
                  <a:schemeClr val="tx1"/>
                </a:solidFill>
              </a:defRPr>
            </a:lvl1pPr>
          </a:lstStyle>
          <a:p>
            <a:endParaRPr dirty="0">
              <a:solidFill>
                <a:srgbClr val="000000"/>
              </a:solidFill>
            </a:endParaRP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8369986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2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3676655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414000" y="1414800"/>
            <a:ext cx="6253201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3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1562463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728000"/>
            <a:ext cx="8261999" cy="20232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Gradient, Arial, 42 pt</a:t>
            </a:r>
          </a:p>
        </p:txBody>
      </p:sp>
      <p:sp>
        <p:nvSpPr>
          <p:cNvPr id="6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PA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anama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City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1514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8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86AD7DD4-B4BD-40D2-84A0-D1662DD655C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/>
          </p:nvPr>
        </p:nvSpPr>
        <p:spPr bwMode="invGray">
          <a:xfrm>
            <a:off x="414000" y="1414800"/>
            <a:ext cx="6253200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24475551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1" y="1418590"/>
            <a:ext cx="4049999" cy="4586210"/>
          </a:xfrm>
          <a:prstGeom prst="rect">
            <a:avLst/>
          </a:prstGeom>
        </p:spPr>
        <p:txBody>
          <a:bodyPr lIns="0" tIns="0" rIns="0" bIns="0"/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80001" y="1418590"/>
            <a:ext cx="4049999" cy="4586210"/>
          </a:xfrm>
          <a:prstGeom prst="rect">
            <a:avLst/>
          </a:prstGeom>
        </p:spPr>
        <p:txBody>
          <a:bodyPr lIns="0" tIns="0" rIns="0" bIns="0"/>
          <a:lstStyle>
            <a:lvl1pPr marL="242457" marR="0" indent="-242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PA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anama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City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7992689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10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5499476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7183463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41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14001" y="1249200"/>
            <a:ext cx="4049999" cy="3129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45457" marR="0" indent="-245457" algn="l" defTabSz="831281" rtl="0" eaLnBrk="1" fontAlgn="auto" latinLnBrk="0" hangingPunct="1">
              <a:lnSpc>
                <a:spcPct val="100000"/>
              </a:lnSpc>
              <a:spcBef>
                <a:spcPts val="1273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273" b="1" baseline="0"/>
            </a:lvl1pPr>
            <a:lvl2pPr marL="245457" marR="0" indent="0" algn="l" defTabSz="8312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 sz="1273" b="0"/>
            </a:lvl2pPr>
            <a:lvl3pPr marL="163638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27276" marR="0" indent="-163638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484914" marR="0" indent="-158752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3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831281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 lIns="0" tIns="0" rIns="0" bIns="0"/>
          <a:lstStyle>
            <a:lvl1pPr>
              <a:defRPr sz="909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TextBox 24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PA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anama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City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5177683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3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40" y="1418590"/>
            <a:ext cx="8315325" cy="458621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PA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anama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City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9329715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4" y="1589"/>
          <a:ext cx="144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4" y="1589"/>
                        <a:ext cx="144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30909" tIns="130909" rIns="130909" bIns="130909" numCol="1" rtlCol="0" anchor="ctr" anchorCtr="0" compatLnSpc="1">
            <a:prstTxWarp prst="textNoShape">
              <a:avLst/>
            </a:prstTxWarp>
          </a:bodyPr>
          <a:lstStyle/>
          <a:p>
            <a:pPr defTabSz="904885"/>
            <a:endParaRPr lang="en-US" sz="1273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 userDrawn="1"/>
        </p:nvCxnSpPr>
        <p:spPr bwMode="gray">
          <a:xfrm>
            <a:off x="414001" y="1015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PA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anama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City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7951840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414002" y="4484010"/>
            <a:ext cx="5302037" cy="177233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2273" b="0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“This space is reserved for quotes. The box adjusts itself to the inserted text. Arial, 25 pt”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5543883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14001" y="1379538"/>
            <a:ext cx="8316000" cy="3408362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2727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30 pt”</a:t>
            </a:r>
          </a:p>
        </p:txBody>
      </p:sp>
      <p:sp>
        <p:nvSpPr>
          <p:cNvPr id="5" name="Rechteck 8"/>
          <p:cNvSpPr/>
          <p:nvPr userDrawn="1"/>
        </p:nvSpPr>
        <p:spPr bwMode="gray">
          <a:xfrm>
            <a:off x="8369986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04885"/>
            <a:fld id="{2E45E626-985F-4F96-B1C4-178AC390C14C}" type="slidenum">
              <a:rPr lang="en-US" sz="909" b="0" smtClean="0">
                <a:solidFill>
                  <a:srgbClr val="000000"/>
                </a:solidFill>
                <a:latin typeface="Arial"/>
              </a:rPr>
              <a:pPr algn="r" defTabSz="904885"/>
              <a:t>‹#›</a:t>
            </a:fld>
            <a:endParaRPr lang="en-US" sz="909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 userDrawn="1"/>
        </p:nvSpPr>
        <p:spPr>
          <a:xfrm>
            <a:off x="5423004" y="6341652"/>
            <a:ext cx="3306661" cy="355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909" b="0" dirty="0">
                <a:solidFill>
                  <a:srgbClr val="000000"/>
                </a:solidFill>
                <a:latin typeface="Arial"/>
              </a:rPr>
              <a:t>MI 2017 PA Final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resentation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Panama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City | </a:t>
            </a:r>
            <a:r>
              <a:rPr lang="es-MX" sz="909" b="0" dirty="0" err="1">
                <a:solidFill>
                  <a:srgbClr val="000000"/>
                </a:solidFill>
                <a:latin typeface="Arial"/>
              </a:rPr>
              <a:t>March</a:t>
            </a:r>
            <a:r>
              <a:rPr lang="es-MX" sz="909" b="0" dirty="0">
                <a:solidFill>
                  <a:srgbClr val="000000"/>
                </a:solidFill>
                <a:latin typeface="Arial"/>
              </a:rPr>
              <a:t> 2017</a:t>
            </a:r>
          </a:p>
          <a:p>
            <a:pPr eaLnBrk="1" fontAlgn="auto" hangingPunct="1">
              <a:lnSpc>
                <a:spcPct val="110000"/>
              </a:lnSpc>
              <a:spcBef>
                <a:spcPts val="0"/>
              </a:spcBef>
              <a:spcAft>
                <a:spcPts val="455"/>
              </a:spcAft>
            </a:pPr>
            <a:endParaRPr lang="es-MX" sz="1273" b="0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5008623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46548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1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1" y="62784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965075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1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2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5628465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346400"/>
            <a:ext cx="8316000" cy="617538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4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3999" y="625320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1" y="369205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b" anchorCtr="0"/>
          <a:lstStyle>
            <a:lvl1pPr>
              <a:defRPr sz="1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12655077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681200"/>
            <a:ext cx="8316000" cy="748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5455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1" y="6278381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22791104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468000"/>
            <a:ext cx="8316000" cy="432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25 pt”</a:t>
            </a:r>
            <a:endParaRPr lang="en-US" noProof="0" dirty="0"/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6300897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fld id="{DBBD357C-3BDF-4D0D-BAB2-A0C0592CF60E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b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Bild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68" y="6052431"/>
            <a:ext cx="1512000" cy="385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6553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97E284D4-8DE3-409C-ABAD-11FB0A7613B9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4287D581-0875-4E2E-B66F-04A405E3CA50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36"/>
          <p:cNvSpPr>
            <a:spLocks noGrp="1"/>
          </p:cNvSpPr>
          <p:nvPr>
            <p:ph type="title"/>
          </p:nvPr>
        </p:nvSpPr>
        <p:spPr bwMode="gray">
          <a:xfrm>
            <a:off x="414000" y="1728000"/>
            <a:ext cx="8262000" cy="2023200"/>
          </a:xfrm>
          <a:prstGeom prst="rect">
            <a:avLst/>
          </a:prstGeom>
        </p:spPr>
        <p:txBody>
          <a:bodyPr anchor="t"/>
          <a:lstStyle>
            <a:lvl1pPr>
              <a:lnSpc>
                <a:spcPct val="90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9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226340955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altLang="en-US" sz="1636" b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18" descr="DHL_Ex_extern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400" y="282575"/>
            <a:ext cx="162083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8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41339" y="850900"/>
            <a:ext cx="6838950" cy="882650"/>
          </a:xfrm>
        </p:spPr>
        <p:txBody>
          <a:bodyPr/>
          <a:lstStyle>
            <a:lvl1pPr>
              <a:defRPr sz="2545" noProof="1"/>
            </a:lvl1pPr>
          </a:lstStyle>
          <a:p>
            <a:r>
              <a:rPr lang="en-US" noProof="1"/>
              <a:t>Titelmasterformat durch Klicken bearbeiten</a:t>
            </a:r>
          </a:p>
        </p:txBody>
      </p:sp>
      <p:sp>
        <p:nvSpPr>
          <p:cNvPr id="11279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41339" y="2006606"/>
            <a:ext cx="6838950" cy="536575"/>
          </a:xfrm>
          <a:ln w="0"/>
        </p:spPr>
        <p:txBody>
          <a:bodyPr lIns="0" tIns="0" rIns="0" bIns="0"/>
          <a:lstStyle>
            <a:lvl1pPr marL="0" indent="0">
              <a:lnSpc>
                <a:spcPct val="110000"/>
              </a:lnSpc>
              <a:spcAft>
                <a:spcPct val="0"/>
              </a:spcAft>
              <a:buFontTx/>
              <a:buNone/>
              <a:defRPr sz="1636" noProof="1">
                <a:solidFill>
                  <a:srgbClr val="D40511"/>
                </a:solidFill>
              </a:defRPr>
            </a:lvl1pPr>
          </a:lstStyle>
          <a:p>
            <a:r>
              <a:rPr lang="en-US" noProof="1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57820043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3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414001" y="1155600"/>
            <a:ext cx="8316000" cy="1548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3818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42 pt</a:t>
            </a:r>
          </a:p>
        </p:txBody>
      </p:sp>
      <p:sp>
        <p:nvSpPr>
          <p:cNvPr id="45" name="Text Placeholder 4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3999" y="6274804"/>
            <a:ext cx="6048000" cy="187325"/>
          </a:xfrm>
          <a:prstGeom prst="rect">
            <a:avLst/>
          </a:prstGeom>
        </p:spPr>
        <p:txBody>
          <a:bodyPr lIns="0" tIns="0" rIns="0" bIns="0"/>
          <a:lstStyle>
            <a:lvl1pPr>
              <a:defRPr sz="1091" b="1"/>
            </a:lvl1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7" name="Text Placeholder 4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13999" y="1"/>
            <a:ext cx="2063065" cy="209477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818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818" b="1">
                <a:solidFill>
                  <a:schemeClr val="accent1"/>
                </a:solidFill>
              </a:rPr>
              <a:t>PLEASE INSERT CLASSIFICATION HERE</a:t>
            </a:r>
            <a:endParaRPr lang="en-US" sz="818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875688" y="6195612"/>
            <a:ext cx="1800000" cy="259517"/>
          </a:xfrm>
          <a:prstGeom prst="rect">
            <a:avLst/>
          </a:prstGeom>
          <a:noFill/>
        </p:spPr>
      </p:pic>
      <p:sp>
        <p:nvSpPr>
          <p:cNvPr id="8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414001" y="2703604"/>
            <a:ext cx="8316000" cy="374271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818"/>
            </a:lvl1pPr>
            <a:lvl2pPr marL="0" algn="l" defTabSz="904885" rtl="0" eaLnBrk="0" fontAlgn="base" latinLnBrk="0" hangingPunct="0">
              <a:spcAft>
                <a:spcPts val="1455"/>
              </a:spcAft>
              <a:defRPr lang="en-US" sz="181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04885" rtl="0" eaLnBrk="0" fontAlgn="base" latinLnBrk="0" hangingPunct="0"/>
            <a:r>
              <a:rPr lang="en-US" dirty="0" err="1"/>
              <a:t>Subline</a:t>
            </a:r>
            <a:r>
              <a:rPr lang="en-US" dirty="0"/>
              <a:t> in one or two lines, Arial, 20 pt</a:t>
            </a:r>
          </a:p>
        </p:txBody>
      </p:sp>
      <p:sp>
        <p:nvSpPr>
          <p:cNvPr id="10" name="Textplatzhalt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414001" y="3106800"/>
            <a:ext cx="8316000" cy="48113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831281" rtl="0" eaLnBrk="1" latinLnBrk="0" hangingPunct="1">
              <a:lnSpc>
                <a:spcPct val="100000"/>
              </a:lnSpc>
              <a:spcAft>
                <a:spcPts val="0"/>
              </a:spcAft>
              <a:defRPr lang="en-US" sz="1091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455"/>
              </a:spcAft>
              <a:defRPr sz="1818" b="0" baseline="0"/>
            </a:lvl2pPr>
          </a:lstStyle>
          <a:p>
            <a:r>
              <a:rPr lang="en-US" dirty="0"/>
              <a:t>Name of the event or project or presenter, Arial 12 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</p:spTree>
    <p:extLst>
      <p:ext uri="{BB962C8B-B14F-4D97-AF65-F5344CB8AC3E}">
        <p14:creationId xmlns:p14="http://schemas.microsoft.com/office/powerpoint/2010/main" val="107810120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3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4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27031468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4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63497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9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11E44074-DF8C-465F-A0A8-299676B1D82E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1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AF28B84E-5812-4976-8F12-330FAD224DCC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3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0" y="1249200"/>
            <a:ext cx="4050000" cy="4755600"/>
          </a:xfrm>
          <a:prstGeom prst="rect">
            <a:avLst/>
          </a:prstGeom>
        </p:spPr>
        <p:txBody>
          <a:bodyPr/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4680000" y="1249200"/>
            <a:ext cx="4050000" cy="4755600"/>
          </a:xfrm>
          <a:prstGeom prst="rect">
            <a:avLst/>
          </a:prstGeom>
        </p:spPr>
        <p:txBody>
          <a:bodyPr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328953292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9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0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1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E820E213-502B-4D08-AC63-00FBDC31CD5C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42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4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EAABE00F-91DF-499C-810E-2B394BF763E0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45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3815409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5499436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718346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/>
          </p:nvPr>
        </p:nvSpPr>
        <p:spPr bwMode="gray">
          <a:xfrm>
            <a:off x="3815487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/>
          </p:nvPr>
        </p:nvSpPr>
        <p:spPr bwMode="gray">
          <a:xfrm>
            <a:off x="5499475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/>
          </p:nvPr>
        </p:nvSpPr>
        <p:spPr bwMode="gray">
          <a:xfrm>
            <a:off x="7183462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/>
          </p:nvPr>
        </p:nvSpPr>
        <p:spPr bwMode="gray">
          <a:xfrm>
            <a:off x="414000" y="1249200"/>
            <a:ext cx="4050000" cy="3129062"/>
          </a:xfrm>
          <a:prstGeom prst="rect">
            <a:avLst/>
          </a:prstGeom>
        </p:spPr>
        <p:txBody>
          <a:bodyPr>
            <a:noAutofit/>
          </a:bodyPr>
          <a:lstStyle>
            <a:lvl1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1400" b="1" baseline="0"/>
            </a:lvl1pPr>
            <a:lvl2pPr marL="27000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2131382" y="4732903"/>
            <a:ext cx="1549400" cy="1087438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/>
          </p:nvPr>
        </p:nvSpPr>
        <p:spPr bwMode="gray">
          <a:xfrm>
            <a:off x="2131499" y="4533681"/>
            <a:ext cx="1549400" cy="198656"/>
          </a:xfrm>
          <a:prstGeom prst="rect">
            <a:avLst/>
          </a:prstGeom>
        </p:spPr>
        <p:txBody>
          <a:bodyPr/>
          <a:lstStyle>
            <a:lvl1pPr>
              <a:defRPr sz="1000"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7" name="Footer Placeholder 2"/>
          <p:cNvSpPr>
            <a:spLocks noGrp="1"/>
          </p:cNvSpPr>
          <p:nvPr>
            <p:ph type="ftr" sz="quarter" idx="36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175781133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9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8A18C615-6337-4528-9F43-18D2ED490349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D05404E4-E241-44FE-9311-6B7179639ED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1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414338" y="1249200"/>
            <a:ext cx="8315325" cy="4755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8194876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9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C74A1D30-1EDE-40F9-827C-0DEF46BE02AF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FD1C1375-9483-4E11-AACF-FDEA244FB61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29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41172355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4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7F6E3B57-902A-42D6-B372-65E80D312641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1AB91D9E-8011-42C3-8639-90C0823224A7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3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4680000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354244176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02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4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3FE29F7F-BAF2-462B-8EB6-17ED66567D3E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FE96AA3A-DD92-483E-88D5-85E6AEBC62A5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3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80000" y="1249200"/>
            <a:ext cx="4050000" cy="4698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2365048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0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9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D1529DF2-42A3-4235-A274-648E00ECD50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6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80CF52F7-7EAD-47F8-BC16-AC36F0DB536A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7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4678363" y="1249200"/>
            <a:ext cx="4050000" cy="3348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678363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6768000" y="4723200"/>
            <a:ext cx="1962000" cy="1224000"/>
          </a:xfrm>
          <a:prstGeom prst="rect">
            <a:avLst/>
          </a:prstGeom>
          <a:solidFill>
            <a:schemeClr val="tx2"/>
          </a:solidFill>
        </p:spPr>
        <p:txBody>
          <a:bodyPr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414338" y="1249199"/>
            <a:ext cx="4050000" cy="4755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9" name="Footer Placeholder 2"/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40578077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0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44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9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7B60C97B-E1CF-4806-B91A-C8385D60E705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414000" y="4368783"/>
            <a:ext cx="5302037" cy="188755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lIns="180000" tIns="432000" rIns="180000" bIns="180000" anchor="b">
            <a:spAutoFit/>
          </a:bodyPr>
          <a:lstStyle>
            <a:lvl1pPr>
              <a:defRPr sz="2500" b="0" baseline="0">
                <a:solidFill>
                  <a:srgbClr val="D4051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664953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53A12D97-18F8-4DCC-8D3D-05A1A6A314FB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6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97BF052B-9963-48C9-A006-3791C383A8F4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 bwMode="gray">
          <a:xfrm>
            <a:off x="414000" y="1379538"/>
            <a:ext cx="8316000" cy="3408362"/>
          </a:xfrm>
          <a:prstGeom prst="rect">
            <a:avLst/>
          </a:prstGeom>
        </p:spPr>
        <p:txBody>
          <a:bodyPr lIns="900000" rIns="900000" anchor="ctr"/>
          <a:lstStyle>
            <a:lvl1pPr algn="l">
              <a:defRPr sz="3000" b="0">
                <a:solidFill>
                  <a:srgbClr val="D4051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25303929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7C157C42-3776-4BEC-88DA-016966B5DF29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hteck 11"/>
          <p:cNvSpPr/>
          <p:nvPr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" name="Rechteck 8"/>
          <p:cNvSpPr>
            <a:spLocks noChangeArrowheads="1"/>
          </p:cNvSpPr>
          <p:nvPr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49B4229C-2243-410D-A6A8-903820C94BFD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31" name="Straight Connector 10"/>
          <p:cNvCxnSpPr/>
          <p:nvPr/>
        </p:nvCxnSpPr>
        <p:spPr bwMode="gray">
          <a:xfrm>
            <a:off x="414338" y="1014413"/>
            <a:ext cx="831532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413999" y="1249200"/>
            <a:ext cx="8316000" cy="47556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1"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/>
            </a:lvl2pPr>
            <a:lvl3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533400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3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Frutiger" panose="020B0500000000000000" pitchFamily="34" charset="0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</p:spTree>
    <p:extLst>
      <p:ext uri="{BB962C8B-B14F-4D97-AF65-F5344CB8AC3E}">
        <p14:creationId xmlns:p14="http://schemas.microsoft.com/office/powerpoint/2010/main" val="307850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3">
            <a:extLst/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2107"/>
            <a:ext cx="7212013" cy="79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6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5618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1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3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1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45ABAFC8-7EF7-474E-8510-BA68196F96D9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3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 bwMode="gray">
          <a:xfrm>
            <a:off x="414000" y="46548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80000" y="59508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/>
          </p:nvPr>
        </p:nvSpPr>
        <p:spPr bwMode="gray">
          <a:xfrm>
            <a:off x="414000" y="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/>
          </p:nvPr>
        </p:nvSpPr>
        <p:spPr bwMode="gray">
          <a:xfrm>
            <a:off x="414000" y="6278400"/>
            <a:ext cx="1260000" cy="18166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77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1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2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2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3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684B00CB-D6C2-4E38-A5BA-5C4645646FA4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4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</p:spPr>
        <p:txBody>
          <a:bodyPr tIns="540000"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80001" y="180000"/>
            <a:ext cx="8784000" cy="72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tabLst>
                <a:tab pos="6191250" algn="l"/>
              </a:tabLst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/>
          </p:nvPr>
        </p:nvSpPr>
        <p:spPr bwMode="gray">
          <a:xfrm>
            <a:off x="414000" y="1346400"/>
            <a:ext cx="8316000" cy="617538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/>
          </p:nvPr>
        </p:nvSpPr>
        <p:spPr bwMode="gray">
          <a:xfrm>
            <a:off x="414000" y="6253200"/>
            <a:ext cx="2269852" cy="222108"/>
          </a:xfrm>
          <a:prstGeom prst="rect">
            <a:avLst/>
          </a:prstGeom>
          <a:noFill/>
          <a:ln>
            <a:noFill/>
          </a:ln>
        </p:spPr>
        <p:txBody>
          <a:bodyPr wrap="none" tIns="82800" rtlCol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9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/>
          </p:nvPr>
        </p:nvSpPr>
        <p:spPr bwMode="gray">
          <a:xfrm>
            <a:off x="414000" y="369205"/>
            <a:ext cx="1260000" cy="181660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 wrap="none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501824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: full page gradient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812F9ED5-EB9B-4BCD-B4D0-A3DC88E8593D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5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36"/>
          <p:cNvSpPr>
            <a:spLocks noGrp="1"/>
          </p:cNvSpPr>
          <p:nvPr>
            <p:ph type="title"/>
          </p:nvPr>
        </p:nvSpPr>
        <p:spPr bwMode="gray">
          <a:xfrm>
            <a:off x="414000" y="1681200"/>
            <a:ext cx="8316000" cy="748800"/>
          </a:xfrm>
          <a:prstGeom prst="rect">
            <a:avLst/>
          </a:prstGeom>
        </p:spPr>
        <p:txBody>
          <a:bodyPr wrap="none" anchor="t"/>
          <a:lstStyle>
            <a:lvl1pPr>
              <a:lnSpc>
                <a:spcPts val="60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0086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black font, big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77800" y="5105400"/>
            <a:ext cx="8783638" cy="1600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44000" tIns="144000" rIns="144000" bIns="144000" anchor="ctr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endParaRPr lang="en-US" altLang="en-US" sz="14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Bild 1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8" y="1657350"/>
            <a:ext cx="8785225" cy="504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400" y="6324600"/>
            <a:ext cx="1295400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68000" y="1728000"/>
            <a:ext cx="8208000" cy="1548000"/>
          </a:xfrm>
        </p:spPr>
        <p:txBody>
          <a:bodyPr/>
          <a:lstStyle>
            <a:lvl1pPr algn="l">
              <a:lnSpc>
                <a:spcPts val="6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68000" y="3456000"/>
            <a:ext cx="8208000" cy="108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341558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able of content: 2 columns,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0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6115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 baseline="0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4572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338779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1 column,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13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 b="1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02607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: 2 columns,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Gerade Verbindung 19"/>
          <p:cNvCxnSpPr/>
          <p:nvPr userDrawn="1"/>
        </p:nvCxnSpPr>
        <p:spPr>
          <a:xfrm>
            <a:off x="465138" y="985838"/>
            <a:ext cx="8207375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468000"/>
            <a:ext cx="8208000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8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buFont typeface="+mj-lt"/>
              <a:buNone/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548000"/>
            <a:ext cx="3996000" cy="2520000"/>
          </a:xfrm>
        </p:spPr>
        <p:txBody>
          <a:bodyPr/>
          <a:lstStyle>
            <a:lvl1pPr marL="270000" indent="-270000">
              <a:spcBef>
                <a:spcPts val="1400"/>
              </a:spcBef>
              <a:spcAft>
                <a:spcPts val="0"/>
              </a:spcAft>
              <a:defRPr sz="1400" b="1"/>
            </a:lvl1pPr>
            <a:lvl2pPr marL="270000" indent="0">
              <a:buNone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2"/>
          </p:nvPr>
        </p:nvSpPr>
        <p:spPr>
          <a:xfrm>
            <a:off x="379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9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4"/>
          </p:nvPr>
        </p:nvSpPr>
        <p:spPr>
          <a:xfrm>
            <a:off x="546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546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6"/>
          </p:nvPr>
        </p:nvSpPr>
        <p:spPr>
          <a:xfrm>
            <a:off x="712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7"/>
          </p:nvPr>
        </p:nvSpPr>
        <p:spPr>
          <a:xfrm>
            <a:off x="712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8"/>
          </p:nvPr>
        </p:nvSpPr>
        <p:spPr>
          <a:xfrm>
            <a:off x="2133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 smtClean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9"/>
          </p:nvPr>
        </p:nvSpPr>
        <p:spPr>
          <a:xfrm>
            <a:off x="2133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Bildplatzhalter 9"/>
          <p:cNvSpPr>
            <a:spLocks noGrp="1"/>
          </p:cNvSpPr>
          <p:nvPr>
            <p:ph type="pic" sz="quarter" idx="20"/>
          </p:nvPr>
        </p:nvSpPr>
        <p:spPr>
          <a:xfrm>
            <a:off x="468000" y="4788000"/>
            <a:ext cx="1548000" cy="1080000"/>
          </a:xfrm>
          <a:solidFill>
            <a:schemeClr val="tx2"/>
          </a:solidFill>
        </p:spPr>
        <p:txBody>
          <a:bodyPr lIns="90000" tIns="90000" rIns="90000" bIns="90000" rtlCol="0">
            <a:no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1"/>
          </p:nvPr>
        </p:nvSpPr>
        <p:spPr>
          <a:xfrm>
            <a:off x="468000" y="4428000"/>
            <a:ext cx="1548000" cy="360000"/>
          </a:xfrm>
        </p:spPr>
        <p:txBody>
          <a:bodyPr bIns="72000" anchor="b"/>
          <a:lstStyle>
            <a:lvl1pPr>
              <a:defRPr sz="800" b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694686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21" descr="Verlauf_laengs_large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5580063"/>
            <a:ext cx="8785225" cy="109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802895DC-83A9-403B-8B0F-B980B5EB4238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7" name="Bild 9" descr="DHL_rgb_B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2875" cy="2002162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8875498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gradien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19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 21" descr="Verlauf_laengs_large_RGB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69863"/>
            <a:ext cx="8785225" cy="11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13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44D2007C-2769-4C8B-8FA2-4F3476FC3DC7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14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pic>
        <p:nvPicPr>
          <p:cNvPr id="8" name="Bild 9" descr="DHL_rgb_BG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3254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000" y="720000"/>
            <a:ext cx="6374862" cy="2022237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4203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: no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9"/>
          <p:cNvSpPr>
            <a:spLocks noChangeArrowheads="1"/>
          </p:cNvSpPr>
          <p:nvPr userDrawn="1"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18763850-74EC-46AF-A43A-5DD53193567F}" type="slidenum">
              <a:rPr lang="de-DE" altLang="en-US" sz="1000" b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10"/>
          <p:cNvSpPr>
            <a:spLocks noChangeArrowheads="1"/>
          </p:cNvSpPr>
          <p:nvPr userDrawn="1"/>
        </p:nvSpPr>
        <p:spPr bwMode="auto">
          <a:xfrm>
            <a:off x="828675" y="6253163"/>
            <a:ext cx="631825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de-DE" altLang="en-US" sz="1000" b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tion title </a:t>
            </a:r>
            <a:r>
              <a:rPr lang="de-DE" altLang="en-US" sz="1000" b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Location </a:t>
            </a:r>
            <a:r>
              <a:rPr lang="de-DE" altLang="en-US" sz="1000" b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xx month 20xx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  <a:solidFill>
            <a:schemeClr val="tx2"/>
          </a:solidFill>
        </p:spPr>
        <p:txBody>
          <a:bodyPr lIns="180000" tIns="180000" rIns="180000" bIns="2880000" rtlCol="0" anchor="b" anchorCtr="1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24" y="985838"/>
            <a:ext cx="3997325" cy="1800000"/>
          </a:xfrm>
        </p:spPr>
        <p:txBody>
          <a:bodyPr/>
          <a:lstStyle>
            <a:lvl1pPr>
              <a:lnSpc>
                <a:spcPts val="4600"/>
              </a:lnSpc>
              <a:defRPr sz="4200">
                <a:solidFill>
                  <a:srgbClr val="FFCC00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663701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92.xml"/><Relationship Id="rId21" Type="http://schemas.openxmlformats.org/officeDocument/2006/relationships/vmlDrawing" Target="../drawings/vmlDrawing99.v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oleObject" Target="../embeddings/oleObject109.bin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tags" Target="../tags/tag11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slideLayout" Target="../slideLayouts/slideLayout221.xml"/><Relationship Id="rId18" Type="http://schemas.openxmlformats.org/officeDocument/2006/relationships/slideLayout" Target="../slideLayouts/slideLayout226.xml"/><Relationship Id="rId26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11.xml"/><Relationship Id="rId21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0.xml"/><Relationship Id="rId17" Type="http://schemas.openxmlformats.org/officeDocument/2006/relationships/slideLayout" Target="../slideLayouts/slideLayout225.xml"/><Relationship Id="rId25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24.xml"/><Relationship Id="rId20" Type="http://schemas.openxmlformats.org/officeDocument/2006/relationships/slideLayout" Target="../slideLayouts/slideLayout228.xml"/><Relationship Id="rId29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219.xml"/><Relationship Id="rId24" Type="http://schemas.openxmlformats.org/officeDocument/2006/relationships/slideLayout" Target="../slideLayouts/slideLayout232.xml"/><Relationship Id="rId32" Type="http://schemas.openxmlformats.org/officeDocument/2006/relationships/image" Target="../media/image22.png"/><Relationship Id="rId5" Type="http://schemas.openxmlformats.org/officeDocument/2006/relationships/slideLayout" Target="../slideLayouts/slideLayout213.xml"/><Relationship Id="rId15" Type="http://schemas.openxmlformats.org/officeDocument/2006/relationships/slideLayout" Target="../slideLayouts/slideLayout223.xml"/><Relationship Id="rId23" Type="http://schemas.openxmlformats.org/officeDocument/2006/relationships/slideLayout" Target="../slideLayouts/slideLayout231.xml"/><Relationship Id="rId28" Type="http://schemas.openxmlformats.org/officeDocument/2006/relationships/slideLayout" Target="../slideLayouts/slideLayout236.xml"/><Relationship Id="rId10" Type="http://schemas.openxmlformats.org/officeDocument/2006/relationships/slideLayout" Target="../slideLayouts/slideLayout218.xml"/><Relationship Id="rId19" Type="http://schemas.openxmlformats.org/officeDocument/2006/relationships/slideLayout" Target="../slideLayouts/slideLayout227.xml"/><Relationship Id="rId31" Type="http://schemas.openxmlformats.org/officeDocument/2006/relationships/image" Target="../media/image21.png"/><Relationship Id="rId4" Type="http://schemas.openxmlformats.org/officeDocument/2006/relationships/slideLayout" Target="../slideLayouts/slideLayout212.xml"/><Relationship Id="rId9" Type="http://schemas.openxmlformats.org/officeDocument/2006/relationships/slideLayout" Target="../slideLayouts/slideLayout217.xml"/><Relationship Id="rId14" Type="http://schemas.openxmlformats.org/officeDocument/2006/relationships/slideLayout" Target="../slideLayouts/slideLayout222.xml"/><Relationship Id="rId22" Type="http://schemas.openxmlformats.org/officeDocument/2006/relationships/slideLayout" Target="../slideLayouts/slideLayout230.xml"/><Relationship Id="rId27" Type="http://schemas.openxmlformats.org/officeDocument/2006/relationships/slideLayout" Target="../slideLayouts/slideLayout235.xml"/><Relationship Id="rId30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18" Type="http://schemas.openxmlformats.org/officeDocument/2006/relationships/slideLayout" Target="../slideLayouts/slideLayout255.xml"/><Relationship Id="rId26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58.xml"/><Relationship Id="rId34" Type="http://schemas.openxmlformats.org/officeDocument/2006/relationships/slideLayout" Target="../slideLayouts/slideLayout271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slideLayout" Target="../slideLayouts/slideLayout254.xml"/><Relationship Id="rId25" Type="http://schemas.openxmlformats.org/officeDocument/2006/relationships/slideLayout" Target="../slideLayouts/slideLayout262.xml"/><Relationship Id="rId33" Type="http://schemas.openxmlformats.org/officeDocument/2006/relationships/slideLayout" Target="../slideLayouts/slideLayout270.xml"/><Relationship Id="rId2" Type="http://schemas.openxmlformats.org/officeDocument/2006/relationships/slideLayout" Target="../slideLayouts/slideLayout239.xml"/><Relationship Id="rId16" Type="http://schemas.openxmlformats.org/officeDocument/2006/relationships/slideLayout" Target="../slideLayouts/slideLayout253.xml"/><Relationship Id="rId20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24" Type="http://schemas.openxmlformats.org/officeDocument/2006/relationships/slideLayout" Target="../slideLayouts/slideLayout261.xml"/><Relationship Id="rId32" Type="http://schemas.openxmlformats.org/officeDocument/2006/relationships/slideLayout" Target="../slideLayouts/slideLayout269.xml"/><Relationship Id="rId37" Type="http://schemas.openxmlformats.org/officeDocument/2006/relationships/image" Target="../media/image22.png"/><Relationship Id="rId5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2.xml"/><Relationship Id="rId23" Type="http://schemas.openxmlformats.org/officeDocument/2006/relationships/slideLayout" Target="../slideLayouts/slideLayout260.xml"/><Relationship Id="rId28" Type="http://schemas.openxmlformats.org/officeDocument/2006/relationships/slideLayout" Target="../slideLayouts/slideLayout265.xml"/><Relationship Id="rId36" Type="http://schemas.openxmlformats.org/officeDocument/2006/relationships/image" Target="../media/image21.png"/><Relationship Id="rId10" Type="http://schemas.openxmlformats.org/officeDocument/2006/relationships/slideLayout" Target="../slideLayouts/slideLayout247.xml"/><Relationship Id="rId19" Type="http://schemas.openxmlformats.org/officeDocument/2006/relationships/slideLayout" Target="../slideLayouts/slideLayout256.xml"/><Relationship Id="rId31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Relationship Id="rId22" Type="http://schemas.openxmlformats.org/officeDocument/2006/relationships/slideLayout" Target="../slideLayouts/slideLayout259.xml"/><Relationship Id="rId27" Type="http://schemas.openxmlformats.org/officeDocument/2006/relationships/slideLayout" Target="../slideLayouts/slideLayout264.xml"/><Relationship Id="rId30" Type="http://schemas.openxmlformats.org/officeDocument/2006/relationships/slideLayout" Target="../slideLayouts/slideLayout267.xml"/><Relationship Id="rId35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slideLayout" Target="../slideLayouts/slideLayout284.xml"/><Relationship Id="rId18" Type="http://schemas.openxmlformats.org/officeDocument/2006/relationships/theme" Target="../theme/theme13.xml"/><Relationship Id="rId3" Type="http://schemas.openxmlformats.org/officeDocument/2006/relationships/slideLayout" Target="../slideLayouts/slideLayout274.xml"/><Relationship Id="rId21" Type="http://schemas.openxmlformats.org/officeDocument/2006/relationships/oleObject" Target="../embeddings/oleObject140.bin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17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73.xml"/><Relationship Id="rId16" Type="http://schemas.openxmlformats.org/officeDocument/2006/relationships/slideLayout" Target="../slideLayouts/slideLayout287.xml"/><Relationship Id="rId20" Type="http://schemas.openxmlformats.org/officeDocument/2006/relationships/tags" Target="../tags/tag143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5" Type="http://schemas.openxmlformats.org/officeDocument/2006/relationships/slideLayout" Target="../slideLayouts/slideLayout286.xml"/><Relationship Id="rId10" Type="http://schemas.openxmlformats.org/officeDocument/2006/relationships/slideLayout" Target="../slideLayouts/slideLayout281.xml"/><Relationship Id="rId19" Type="http://schemas.openxmlformats.org/officeDocument/2006/relationships/vmlDrawing" Target="../drawings/vmlDrawing130.v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Relationship Id="rId14" Type="http://schemas.openxmlformats.org/officeDocument/2006/relationships/slideLayout" Target="../slideLayouts/slideLayout285.xml"/><Relationship Id="rId22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1.xml"/><Relationship Id="rId18" Type="http://schemas.openxmlformats.org/officeDocument/2006/relationships/slideLayout" Target="../slideLayouts/slideLayout306.xml"/><Relationship Id="rId3" Type="http://schemas.openxmlformats.org/officeDocument/2006/relationships/slideLayout" Target="../slideLayouts/slideLayout291.xml"/><Relationship Id="rId21" Type="http://schemas.openxmlformats.org/officeDocument/2006/relationships/vmlDrawing" Target="../drawings/vmlDrawing136.v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20" Type="http://schemas.openxmlformats.org/officeDocument/2006/relationships/theme" Target="../theme/theme14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23" Type="http://schemas.openxmlformats.org/officeDocument/2006/relationships/oleObject" Target="../embeddings/oleObject146.bin"/><Relationship Id="rId10" Type="http://schemas.openxmlformats.org/officeDocument/2006/relationships/slideLayout" Target="../slideLayouts/slideLayout298.xml"/><Relationship Id="rId19" Type="http://schemas.openxmlformats.org/officeDocument/2006/relationships/slideLayout" Target="../slideLayouts/slideLayout307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Relationship Id="rId22" Type="http://schemas.openxmlformats.org/officeDocument/2006/relationships/tags" Target="../tags/tag14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5.xml"/><Relationship Id="rId13" Type="http://schemas.openxmlformats.org/officeDocument/2006/relationships/slideLayout" Target="../slideLayouts/slideLayout320.xml"/><Relationship Id="rId18" Type="http://schemas.openxmlformats.org/officeDocument/2006/relationships/slideLayout" Target="../slideLayouts/slideLayout325.xml"/><Relationship Id="rId3" Type="http://schemas.openxmlformats.org/officeDocument/2006/relationships/slideLayout" Target="../slideLayouts/slideLayout310.xml"/><Relationship Id="rId21" Type="http://schemas.openxmlformats.org/officeDocument/2006/relationships/vmlDrawing" Target="../drawings/vmlDrawing137.vml"/><Relationship Id="rId7" Type="http://schemas.openxmlformats.org/officeDocument/2006/relationships/slideLayout" Target="../slideLayouts/slideLayout314.xml"/><Relationship Id="rId12" Type="http://schemas.openxmlformats.org/officeDocument/2006/relationships/slideLayout" Target="../slideLayouts/slideLayout319.xml"/><Relationship Id="rId17" Type="http://schemas.openxmlformats.org/officeDocument/2006/relationships/slideLayout" Target="../slideLayouts/slideLayout324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309.xml"/><Relationship Id="rId16" Type="http://schemas.openxmlformats.org/officeDocument/2006/relationships/slideLayout" Target="../slideLayouts/slideLayout323.xml"/><Relationship Id="rId20" Type="http://schemas.openxmlformats.org/officeDocument/2006/relationships/theme" Target="../theme/theme15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11" Type="http://schemas.openxmlformats.org/officeDocument/2006/relationships/slideLayout" Target="../slideLayouts/slideLayout318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312.xml"/><Relationship Id="rId15" Type="http://schemas.openxmlformats.org/officeDocument/2006/relationships/slideLayout" Target="../slideLayouts/slideLayout322.xml"/><Relationship Id="rId23" Type="http://schemas.openxmlformats.org/officeDocument/2006/relationships/oleObject" Target="../embeddings/oleObject147.bin"/><Relationship Id="rId10" Type="http://schemas.openxmlformats.org/officeDocument/2006/relationships/slideLayout" Target="../slideLayouts/slideLayout317.xml"/><Relationship Id="rId19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Relationship Id="rId14" Type="http://schemas.openxmlformats.org/officeDocument/2006/relationships/slideLayout" Target="../slideLayouts/slideLayout321.xml"/><Relationship Id="rId22" Type="http://schemas.openxmlformats.org/officeDocument/2006/relationships/tags" Target="../tags/tag15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4.xml"/><Relationship Id="rId13" Type="http://schemas.openxmlformats.org/officeDocument/2006/relationships/slideLayout" Target="../slideLayouts/slideLayout339.xml"/><Relationship Id="rId18" Type="http://schemas.openxmlformats.org/officeDocument/2006/relationships/slideLayout" Target="../slideLayouts/slideLayout344.xml"/><Relationship Id="rId3" Type="http://schemas.openxmlformats.org/officeDocument/2006/relationships/slideLayout" Target="../slideLayouts/slideLayout329.xml"/><Relationship Id="rId21" Type="http://schemas.openxmlformats.org/officeDocument/2006/relationships/vmlDrawing" Target="../drawings/vmlDrawing138.vml"/><Relationship Id="rId7" Type="http://schemas.openxmlformats.org/officeDocument/2006/relationships/slideLayout" Target="../slideLayouts/slideLayout333.xml"/><Relationship Id="rId12" Type="http://schemas.openxmlformats.org/officeDocument/2006/relationships/slideLayout" Target="../slideLayouts/slideLayout338.xml"/><Relationship Id="rId17" Type="http://schemas.openxmlformats.org/officeDocument/2006/relationships/slideLayout" Target="../slideLayouts/slideLayout343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328.xml"/><Relationship Id="rId16" Type="http://schemas.openxmlformats.org/officeDocument/2006/relationships/slideLayout" Target="../slideLayouts/slideLayout342.xml"/><Relationship Id="rId20" Type="http://schemas.openxmlformats.org/officeDocument/2006/relationships/theme" Target="../theme/theme16.xml"/><Relationship Id="rId1" Type="http://schemas.openxmlformats.org/officeDocument/2006/relationships/slideLayout" Target="../slideLayouts/slideLayout327.xml"/><Relationship Id="rId6" Type="http://schemas.openxmlformats.org/officeDocument/2006/relationships/slideLayout" Target="../slideLayouts/slideLayout332.xml"/><Relationship Id="rId11" Type="http://schemas.openxmlformats.org/officeDocument/2006/relationships/slideLayout" Target="../slideLayouts/slideLayout337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331.xml"/><Relationship Id="rId15" Type="http://schemas.openxmlformats.org/officeDocument/2006/relationships/slideLayout" Target="../slideLayouts/slideLayout341.xml"/><Relationship Id="rId23" Type="http://schemas.openxmlformats.org/officeDocument/2006/relationships/oleObject" Target="../embeddings/oleObject148.bin"/><Relationship Id="rId10" Type="http://schemas.openxmlformats.org/officeDocument/2006/relationships/slideLayout" Target="../slideLayouts/slideLayout336.xml"/><Relationship Id="rId19" Type="http://schemas.openxmlformats.org/officeDocument/2006/relationships/slideLayout" Target="../slideLayouts/slideLayout345.xml"/><Relationship Id="rId4" Type="http://schemas.openxmlformats.org/officeDocument/2006/relationships/slideLayout" Target="../slideLayouts/slideLayout330.xml"/><Relationship Id="rId9" Type="http://schemas.openxmlformats.org/officeDocument/2006/relationships/slideLayout" Target="../slideLayouts/slideLayout335.xml"/><Relationship Id="rId14" Type="http://schemas.openxmlformats.org/officeDocument/2006/relationships/slideLayout" Target="../slideLayouts/slideLayout340.xml"/><Relationship Id="rId22" Type="http://schemas.openxmlformats.org/officeDocument/2006/relationships/tags" Target="../tags/tag15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3.xml"/><Relationship Id="rId13" Type="http://schemas.openxmlformats.org/officeDocument/2006/relationships/slideLayout" Target="../slideLayouts/slideLayout358.xml"/><Relationship Id="rId18" Type="http://schemas.openxmlformats.org/officeDocument/2006/relationships/vmlDrawing" Target="../drawings/vmlDrawing139.vml"/><Relationship Id="rId3" Type="http://schemas.openxmlformats.org/officeDocument/2006/relationships/slideLayout" Target="../slideLayouts/slideLayout348.xml"/><Relationship Id="rId21" Type="http://schemas.openxmlformats.org/officeDocument/2006/relationships/image" Target="../media/image8.emf"/><Relationship Id="rId7" Type="http://schemas.openxmlformats.org/officeDocument/2006/relationships/slideLayout" Target="../slideLayouts/slideLayout352.xml"/><Relationship Id="rId12" Type="http://schemas.openxmlformats.org/officeDocument/2006/relationships/slideLayout" Target="../slideLayouts/slideLayout357.xml"/><Relationship Id="rId17" Type="http://schemas.openxmlformats.org/officeDocument/2006/relationships/theme" Target="../theme/theme17.xml"/><Relationship Id="rId2" Type="http://schemas.openxmlformats.org/officeDocument/2006/relationships/slideLayout" Target="../slideLayouts/slideLayout347.xml"/><Relationship Id="rId16" Type="http://schemas.openxmlformats.org/officeDocument/2006/relationships/slideLayout" Target="../slideLayouts/slideLayout361.xml"/><Relationship Id="rId20" Type="http://schemas.openxmlformats.org/officeDocument/2006/relationships/oleObject" Target="../embeddings/oleObject149.bin"/><Relationship Id="rId1" Type="http://schemas.openxmlformats.org/officeDocument/2006/relationships/slideLayout" Target="../slideLayouts/slideLayout346.xml"/><Relationship Id="rId6" Type="http://schemas.openxmlformats.org/officeDocument/2006/relationships/slideLayout" Target="../slideLayouts/slideLayout351.xml"/><Relationship Id="rId11" Type="http://schemas.openxmlformats.org/officeDocument/2006/relationships/slideLayout" Target="../slideLayouts/slideLayout356.xml"/><Relationship Id="rId5" Type="http://schemas.openxmlformats.org/officeDocument/2006/relationships/slideLayout" Target="../slideLayouts/slideLayout350.xml"/><Relationship Id="rId15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355.xml"/><Relationship Id="rId19" Type="http://schemas.openxmlformats.org/officeDocument/2006/relationships/tags" Target="../tags/tag152.xml"/><Relationship Id="rId4" Type="http://schemas.openxmlformats.org/officeDocument/2006/relationships/slideLayout" Target="../slideLayouts/slideLayout349.xml"/><Relationship Id="rId9" Type="http://schemas.openxmlformats.org/officeDocument/2006/relationships/slideLayout" Target="../slideLayouts/slideLayout354.xml"/><Relationship Id="rId14" Type="http://schemas.openxmlformats.org/officeDocument/2006/relationships/slideLayout" Target="../slideLayouts/slideLayout35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9.xml"/><Relationship Id="rId13" Type="http://schemas.openxmlformats.org/officeDocument/2006/relationships/slideLayout" Target="../slideLayouts/slideLayout374.xml"/><Relationship Id="rId18" Type="http://schemas.openxmlformats.org/officeDocument/2006/relationships/slideLayout" Target="../slideLayouts/slideLayout379.xml"/><Relationship Id="rId3" Type="http://schemas.openxmlformats.org/officeDocument/2006/relationships/slideLayout" Target="../slideLayouts/slideLayout364.xml"/><Relationship Id="rId21" Type="http://schemas.openxmlformats.org/officeDocument/2006/relationships/vmlDrawing" Target="../drawings/vmlDrawing145.vml"/><Relationship Id="rId7" Type="http://schemas.openxmlformats.org/officeDocument/2006/relationships/slideLayout" Target="../slideLayouts/slideLayout368.xml"/><Relationship Id="rId12" Type="http://schemas.openxmlformats.org/officeDocument/2006/relationships/slideLayout" Target="../slideLayouts/slideLayout373.xml"/><Relationship Id="rId17" Type="http://schemas.openxmlformats.org/officeDocument/2006/relationships/slideLayout" Target="../slideLayouts/slideLayout378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363.xml"/><Relationship Id="rId16" Type="http://schemas.openxmlformats.org/officeDocument/2006/relationships/slideLayout" Target="../slideLayouts/slideLayout377.xml"/><Relationship Id="rId20" Type="http://schemas.openxmlformats.org/officeDocument/2006/relationships/theme" Target="../theme/theme18.xml"/><Relationship Id="rId1" Type="http://schemas.openxmlformats.org/officeDocument/2006/relationships/slideLayout" Target="../slideLayouts/slideLayout362.xml"/><Relationship Id="rId6" Type="http://schemas.openxmlformats.org/officeDocument/2006/relationships/slideLayout" Target="../slideLayouts/slideLayout367.xml"/><Relationship Id="rId11" Type="http://schemas.openxmlformats.org/officeDocument/2006/relationships/slideLayout" Target="../slideLayouts/slideLayout372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6.xml"/><Relationship Id="rId23" Type="http://schemas.openxmlformats.org/officeDocument/2006/relationships/oleObject" Target="../embeddings/oleObject155.bin"/><Relationship Id="rId10" Type="http://schemas.openxmlformats.org/officeDocument/2006/relationships/slideLayout" Target="../slideLayouts/slideLayout371.xml"/><Relationship Id="rId19" Type="http://schemas.openxmlformats.org/officeDocument/2006/relationships/slideLayout" Target="../slideLayouts/slideLayout380.xml"/><Relationship Id="rId4" Type="http://schemas.openxmlformats.org/officeDocument/2006/relationships/slideLayout" Target="../slideLayouts/slideLayout365.xml"/><Relationship Id="rId9" Type="http://schemas.openxmlformats.org/officeDocument/2006/relationships/slideLayout" Target="../slideLayouts/slideLayout370.xml"/><Relationship Id="rId14" Type="http://schemas.openxmlformats.org/officeDocument/2006/relationships/slideLayout" Target="../slideLayouts/slideLayout375.xml"/><Relationship Id="rId22" Type="http://schemas.openxmlformats.org/officeDocument/2006/relationships/tags" Target="../tags/tag15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13" Type="http://schemas.openxmlformats.org/officeDocument/2006/relationships/slideLayout" Target="../slideLayouts/slideLayout393.xml"/><Relationship Id="rId18" Type="http://schemas.openxmlformats.org/officeDocument/2006/relationships/slideLayout" Target="../slideLayouts/slideLayout398.xml"/><Relationship Id="rId3" Type="http://schemas.openxmlformats.org/officeDocument/2006/relationships/slideLayout" Target="../slideLayouts/slideLayout383.xml"/><Relationship Id="rId21" Type="http://schemas.openxmlformats.org/officeDocument/2006/relationships/vmlDrawing" Target="../drawings/vmlDrawing146.vml"/><Relationship Id="rId7" Type="http://schemas.openxmlformats.org/officeDocument/2006/relationships/slideLayout" Target="../slideLayouts/slideLayout387.xml"/><Relationship Id="rId12" Type="http://schemas.openxmlformats.org/officeDocument/2006/relationships/slideLayout" Target="../slideLayouts/slideLayout392.xml"/><Relationship Id="rId17" Type="http://schemas.openxmlformats.org/officeDocument/2006/relationships/slideLayout" Target="../slideLayouts/slideLayout397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382.xml"/><Relationship Id="rId16" Type="http://schemas.openxmlformats.org/officeDocument/2006/relationships/slideLayout" Target="../slideLayouts/slideLayout396.xml"/><Relationship Id="rId20" Type="http://schemas.openxmlformats.org/officeDocument/2006/relationships/theme" Target="../theme/theme19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slideLayout" Target="../slideLayouts/slideLayout391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385.xml"/><Relationship Id="rId15" Type="http://schemas.openxmlformats.org/officeDocument/2006/relationships/slideLayout" Target="../slideLayouts/slideLayout395.xml"/><Relationship Id="rId23" Type="http://schemas.openxmlformats.org/officeDocument/2006/relationships/oleObject" Target="../embeddings/oleObject156.bin"/><Relationship Id="rId10" Type="http://schemas.openxmlformats.org/officeDocument/2006/relationships/slideLayout" Target="../slideLayouts/slideLayout390.xml"/><Relationship Id="rId19" Type="http://schemas.openxmlformats.org/officeDocument/2006/relationships/slideLayout" Target="../slideLayouts/slideLayout399.xml"/><Relationship Id="rId4" Type="http://schemas.openxmlformats.org/officeDocument/2006/relationships/slideLayout" Target="../slideLayouts/slideLayout384.xml"/><Relationship Id="rId9" Type="http://schemas.openxmlformats.org/officeDocument/2006/relationships/slideLayout" Target="../slideLayouts/slideLayout389.xml"/><Relationship Id="rId14" Type="http://schemas.openxmlformats.org/officeDocument/2006/relationships/slideLayout" Target="../slideLayouts/slideLayout394.xml"/><Relationship Id="rId22" Type="http://schemas.openxmlformats.org/officeDocument/2006/relationships/tags" Target="../tags/tag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8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13" Type="http://schemas.openxmlformats.org/officeDocument/2006/relationships/slideLayout" Target="../slideLayouts/slideLayout412.xml"/><Relationship Id="rId18" Type="http://schemas.openxmlformats.org/officeDocument/2006/relationships/slideLayout" Target="../slideLayouts/slideLayout417.xml"/><Relationship Id="rId3" Type="http://schemas.openxmlformats.org/officeDocument/2006/relationships/slideLayout" Target="../slideLayouts/slideLayout402.xml"/><Relationship Id="rId21" Type="http://schemas.openxmlformats.org/officeDocument/2006/relationships/vmlDrawing" Target="../drawings/vmlDrawing147.vml"/><Relationship Id="rId7" Type="http://schemas.openxmlformats.org/officeDocument/2006/relationships/slideLayout" Target="../slideLayouts/slideLayout406.xml"/><Relationship Id="rId12" Type="http://schemas.openxmlformats.org/officeDocument/2006/relationships/slideLayout" Target="../slideLayouts/slideLayout411.xml"/><Relationship Id="rId17" Type="http://schemas.openxmlformats.org/officeDocument/2006/relationships/slideLayout" Target="../slideLayouts/slideLayout416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401.xml"/><Relationship Id="rId16" Type="http://schemas.openxmlformats.org/officeDocument/2006/relationships/slideLayout" Target="../slideLayouts/slideLayout415.xml"/><Relationship Id="rId20" Type="http://schemas.openxmlformats.org/officeDocument/2006/relationships/theme" Target="../theme/theme20.xml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11" Type="http://schemas.openxmlformats.org/officeDocument/2006/relationships/slideLayout" Target="../slideLayouts/slideLayout410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404.xml"/><Relationship Id="rId15" Type="http://schemas.openxmlformats.org/officeDocument/2006/relationships/slideLayout" Target="../slideLayouts/slideLayout414.xml"/><Relationship Id="rId23" Type="http://schemas.openxmlformats.org/officeDocument/2006/relationships/oleObject" Target="../embeddings/oleObject157.bin"/><Relationship Id="rId10" Type="http://schemas.openxmlformats.org/officeDocument/2006/relationships/slideLayout" Target="../slideLayouts/slideLayout409.xml"/><Relationship Id="rId19" Type="http://schemas.openxmlformats.org/officeDocument/2006/relationships/slideLayout" Target="../slideLayouts/slideLayout418.xml"/><Relationship Id="rId4" Type="http://schemas.openxmlformats.org/officeDocument/2006/relationships/slideLayout" Target="../slideLayouts/slideLayout403.xml"/><Relationship Id="rId9" Type="http://schemas.openxmlformats.org/officeDocument/2006/relationships/slideLayout" Target="../slideLayouts/slideLayout408.xml"/><Relationship Id="rId14" Type="http://schemas.openxmlformats.org/officeDocument/2006/relationships/slideLayout" Target="../slideLayouts/slideLayout413.xml"/><Relationship Id="rId22" Type="http://schemas.openxmlformats.org/officeDocument/2006/relationships/tags" Target="../tags/tag161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6.xml"/><Relationship Id="rId13" Type="http://schemas.openxmlformats.org/officeDocument/2006/relationships/slideLayout" Target="../slideLayouts/slideLayout431.xml"/><Relationship Id="rId18" Type="http://schemas.openxmlformats.org/officeDocument/2006/relationships/slideLayout" Target="../slideLayouts/slideLayout436.xml"/><Relationship Id="rId3" Type="http://schemas.openxmlformats.org/officeDocument/2006/relationships/slideLayout" Target="../slideLayouts/slideLayout421.xml"/><Relationship Id="rId21" Type="http://schemas.openxmlformats.org/officeDocument/2006/relationships/vmlDrawing" Target="../drawings/vmlDrawing148.vml"/><Relationship Id="rId7" Type="http://schemas.openxmlformats.org/officeDocument/2006/relationships/slideLayout" Target="../slideLayouts/slideLayout425.xml"/><Relationship Id="rId12" Type="http://schemas.openxmlformats.org/officeDocument/2006/relationships/slideLayout" Target="../slideLayouts/slideLayout430.xml"/><Relationship Id="rId17" Type="http://schemas.openxmlformats.org/officeDocument/2006/relationships/slideLayout" Target="../slideLayouts/slideLayout435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420.xml"/><Relationship Id="rId16" Type="http://schemas.openxmlformats.org/officeDocument/2006/relationships/slideLayout" Target="../slideLayouts/slideLayout434.xml"/><Relationship Id="rId20" Type="http://schemas.openxmlformats.org/officeDocument/2006/relationships/theme" Target="../theme/theme21.xml"/><Relationship Id="rId1" Type="http://schemas.openxmlformats.org/officeDocument/2006/relationships/slideLayout" Target="../slideLayouts/slideLayout419.xml"/><Relationship Id="rId6" Type="http://schemas.openxmlformats.org/officeDocument/2006/relationships/slideLayout" Target="../slideLayouts/slideLayout424.xml"/><Relationship Id="rId11" Type="http://schemas.openxmlformats.org/officeDocument/2006/relationships/slideLayout" Target="../slideLayouts/slideLayout429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423.xml"/><Relationship Id="rId15" Type="http://schemas.openxmlformats.org/officeDocument/2006/relationships/slideLayout" Target="../slideLayouts/slideLayout433.xml"/><Relationship Id="rId23" Type="http://schemas.openxmlformats.org/officeDocument/2006/relationships/oleObject" Target="../embeddings/oleObject158.bin"/><Relationship Id="rId10" Type="http://schemas.openxmlformats.org/officeDocument/2006/relationships/slideLayout" Target="../slideLayouts/slideLayout428.xml"/><Relationship Id="rId19" Type="http://schemas.openxmlformats.org/officeDocument/2006/relationships/slideLayout" Target="../slideLayouts/slideLayout437.xml"/><Relationship Id="rId4" Type="http://schemas.openxmlformats.org/officeDocument/2006/relationships/slideLayout" Target="../slideLayouts/slideLayout422.xml"/><Relationship Id="rId9" Type="http://schemas.openxmlformats.org/officeDocument/2006/relationships/slideLayout" Target="../slideLayouts/slideLayout427.xml"/><Relationship Id="rId14" Type="http://schemas.openxmlformats.org/officeDocument/2006/relationships/slideLayout" Target="../slideLayouts/slideLayout432.xml"/><Relationship Id="rId22" Type="http://schemas.openxmlformats.org/officeDocument/2006/relationships/tags" Target="../tags/tag162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5.xml"/><Relationship Id="rId13" Type="http://schemas.openxmlformats.org/officeDocument/2006/relationships/slideLayout" Target="../slideLayouts/slideLayout450.xml"/><Relationship Id="rId18" Type="http://schemas.openxmlformats.org/officeDocument/2006/relationships/slideLayout" Target="../slideLayouts/slideLayout455.xml"/><Relationship Id="rId3" Type="http://schemas.openxmlformats.org/officeDocument/2006/relationships/slideLayout" Target="../slideLayouts/slideLayout440.xml"/><Relationship Id="rId21" Type="http://schemas.openxmlformats.org/officeDocument/2006/relationships/vmlDrawing" Target="../drawings/vmlDrawing149.vml"/><Relationship Id="rId7" Type="http://schemas.openxmlformats.org/officeDocument/2006/relationships/slideLayout" Target="../slideLayouts/slideLayout444.xml"/><Relationship Id="rId12" Type="http://schemas.openxmlformats.org/officeDocument/2006/relationships/slideLayout" Target="../slideLayouts/slideLayout449.xml"/><Relationship Id="rId17" Type="http://schemas.openxmlformats.org/officeDocument/2006/relationships/slideLayout" Target="../slideLayouts/slideLayout454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439.xml"/><Relationship Id="rId16" Type="http://schemas.openxmlformats.org/officeDocument/2006/relationships/slideLayout" Target="../slideLayouts/slideLayout453.xml"/><Relationship Id="rId20" Type="http://schemas.openxmlformats.org/officeDocument/2006/relationships/theme" Target="../theme/theme22.xml"/><Relationship Id="rId1" Type="http://schemas.openxmlformats.org/officeDocument/2006/relationships/slideLayout" Target="../slideLayouts/slideLayout438.xml"/><Relationship Id="rId6" Type="http://schemas.openxmlformats.org/officeDocument/2006/relationships/slideLayout" Target="../slideLayouts/slideLayout443.xml"/><Relationship Id="rId11" Type="http://schemas.openxmlformats.org/officeDocument/2006/relationships/slideLayout" Target="../slideLayouts/slideLayout448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442.xml"/><Relationship Id="rId15" Type="http://schemas.openxmlformats.org/officeDocument/2006/relationships/slideLayout" Target="../slideLayouts/slideLayout452.xml"/><Relationship Id="rId23" Type="http://schemas.openxmlformats.org/officeDocument/2006/relationships/oleObject" Target="../embeddings/oleObject159.bin"/><Relationship Id="rId10" Type="http://schemas.openxmlformats.org/officeDocument/2006/relationships/slideLayout" Target="../slideLayouts/slideLayout447.xml"/><Relationship Id="rId19" Type="http://schemas.openxmlformats.org/officeDocument/2006/relationships/slideLayout" Target="../slideLayouts/slideLayout456.xml"/><Relationship Id="rId4" Type="http://schemas.openxmlformats.org/officeDocument/2006/relationships/slideLayout" Target="../slideLayouts/slideLayout441.xml"/><Relationship Id="rId9" Type="http://schemas.openxmlformats.org/officeDocument/2006/relationships/slideLayout" Target="../slideLayouts/slideLayout446.xml"/><Relationship Id="rId14" Type="http://schemas.openxmlformats.org/officeDocument/2006/relationships/slideLayout" Target="../slideLayouts/slideLayout451.xml"/><Relationship Id="rId22" Type="http://schemas.openxmlformats.org/officeDocument/2006/relationships/tags" Target="../tags/tag163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4.xml"/><Relationship Id="rId13" Type="http://schemas.openxmlformats.org/officeDocument/2006/relationships/slideLayout" Target="../slideLayouts/slideLayout469.xml"/><Relationship Id="rId18" Type="http://schemas.openxmlformats.org/officeDocument/2006/relationships/vmlDrawing" Target="../drawings/vmlDrawing150.vml"/><Relationship Id="rId3" Type="http://schemas.openxmlformats.org/officeDocument/2006/relationships/slideLayout" Target="../slideLayouts/slideLayout459.xml"/><Relationship Id="rId21" Type="http://schemas.openxmlformats.org/officeDocument/2006/relationships/image" Target="../media/image8.emf"/><Relationship Id="rId7" Type="http://schemas.openxmlformats.org/officeDocument/2006/relationships/slideLayout" Target="../slideLayouts/slideLayout463.xml"/><Relationship Id="rId12" Type="http://schemas.openxmlformats.org/officeDocument/2006/relationships/slideLayout" Target="../slideLayouts/slideLayout468.xml"/><Relationship Id="rId17" Type="http://schemas.openxmlformats.org/officeDocument/2006/relationships/theme" Target="../theme/theme23.xml"/><Relationship Id="rId2" Type="http://schemas.openxmlformats.org/officeDocument/2006/relationships/slideLayout" Target="../slideLayouts/slideLayout458.xml"/><Relationship Id="rId16" Type="http://schemas.openxmlformats.org/officeDocument/2006/relationships/slideLayout" Target="../slideLayouts/slideLayout472.xml"/><Relationship Id="rId20" Type="http://schemas.openxmlformats.org/officeDocument/2006/relationships/oleObject" Target="../embeddings/oleObject160.bin"/><Relationship Id="rId1" Type="http://schemas.openxmlformats.org/officeDocument/2006/relationships/slideLayout" Target="../slideLayouts/slideLayout457.xml"/><Relationship Id="rId6" Type="http://schemas.openxmlformats.org/officeDocument/2006/relationships/slideLayout" Target="../slideLayouts/slideLayout462.xml"/><Relationship Id="rId11" Type="http://schemas.openxmlformats.org/officeDocument/2006/relationships/slideLayout" Target="../slideLayouts/slideLayout467.xml"/><Relationship Id="rId5" Type="http://schemas.openxmlformats.org/officeDocument/2006/relationships/slideLayout" Target="../slideLayouts/slideLayout461.xml"/><Relationship Id="rId15" Type="http://schemas.openxmlformats.org/officeDocument/2006/relationships/slideLayout" Target="../slideLayouts/slideLayout471.xml"/><Relationship Id="rId10" Type="http://schemas.openxmlformats.org/officeDocument/2006/relationships/slideLayout" Target="../slideLayouts/slideLayout466.xml"/><Relationship Id="rId19" Type="http://schemas.openxmlformats.org/officeDocument/2006/relationships/tags" Target="../tags/tag164.xml"/><Relationship Id="rId4" Type="http://schemas.openxmlformats.org/officeDocument/2006/relationships/slideLayout" Target="../slideLayouts/slideLayout460.xml"/><Relationship Id="rId9" Type="http://schemas.openxmlformats.org/officeDocument/2006/relationships/slideLayout" Target="../slideLayouts/slideLayout465.xml"/><Relationship Id="rId14" Type="http://schemas.openxmlformats.org/officeDocument/2006/relationships/slideLayout" Target="../slideLayouts/slideLayout470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0.xml"/><Relationship Id="rId13" Type="http://schemas.openxmlformats.org/officeDocument/2006/relationships/slideLayout" Target="../slideLayouts/slideLayout485.xml"/><Relationship Id="rId18" Type="http://schemas.openxmlformats.org/officeDocument/2006/relationships/slideLayout" Target="../slideLayouts/slideLayout490.xml"/><Relationship Id="rId3" Type="http://schemas.openxmlformats.org/officeDocument/2006/relationships/slideLayout" Target="../slideLayouts/slideLayout475.xml"/><Relationship Id="rId21" Type="http://schemas.openxmlformats.org/officeDocument/2006/relationships/vmlDrawing" Target="../drawings/vmlDrawing156.vml"/><Relationship Id="rId7" Type="http://schemas.openxmlformats.org/officeDocument/2006/relationships/slideLayout" Target="../slideLayouts/slideLayout479.xml"/><Relationship Id="rId12" Type="http://schemas.openxmlformats.org/officeDocument/2006/relationships/slideLayout" Target="../slideLayouts/slideLayout484.xml"/><Relationship Id="rId17" Type="http://schemas.openxmlformats.org/officeDocument/2006/relationships/slideLayout" Target="../slideLayouts/slideLayout489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474.xml"/><Relationship Id="rId16" Type="http://schemas.openxmlformats.org/officeDocument/2006/relationships/slideLayout" Target="../slideLayouts/slideLayout488.xml"/><Relationship Id="rId20" Type="http://schemas.openxmlformats.org/officeDocument/2006/relationships/theme" Target="../theme/theme24.xml"/><Relationship Id="rId1" Type="http://schemas.openxmlformats.org/officeDocument/2006/relationships/slideLayout" Target="../slideLayouts/slideLayout473.xml"/><Relationship Id="rId6" Type="http://schemas.openxmlformats.org/officeDocument/2006/relationships/slideLayout" Target="../slideLayouts/slideLayout478.xml"/><Relationship Id="rId11" Type="http://schemas.openxmlformats.org/officeDocument/2006/relationships/slideLayout" Target="../slideLayouts/slideLayout483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477.xml"/><Relationship Id="rId15" Type="http://schemas.openxmlformats.org/officeDocument/2006/relationships/slideLayout" Target="../slideLayouts/slideLayout487.xml"/><Relationship Id="rId23" Type="http://schemas.openxmlformats.org/officeDocument/2006/relationships/oleObject" Target="../embeddings/oleObject166.bin"/><Relationship Id="rId10" Type="http://schemas.openxmlformats.org/officeDocument/2006/relationships/slideLayout" Target="../slideLayouts/slideLayout482.xml"/><Relationship Id="rId19" Type="http://schemas.openxmlformats.org/officeDocument/2006/relationships/slideLayout" Target="../slideLayouts/slideLayout491.xml"/><Relationship Id="rId4" Type="http://schemas.openxmlformats.org/officeDocument/2006/relationships/slideLayout" Target="../slideLayouts/slideLayout476.xml"/><Relationship Id="rId9" Type="http://schemas.openxmlformats.org/officeDocument/2006/relationships/slideLayout" Target="../slideLayouts/slideLayout481.xml"/><Relationship Id="rId14" Type="http://schemas.openxmlformats.org/officeDocument/2006/relationships/slideLayout" Target="../slideLayouts/slideLayout486.xml"/><Relationship Id="rId22" Type="http://schemas.openxmlformats.org/officeDocument/2006/relationships/tags" Target="../tags/tag171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9.xml"/><Relationship Id="rId13" Type="http://schemas.openxmlformats.org/officeDocument/2006/relationships/slideLayout" Target="../slideLayouts/slideLayout504.xml"/><Relationship Id="rId18" Type="http://schemas.openxmlformats.org/officeDocument/2006/relationships/slideLayout" Target="../slideLayouts/slideLayout509.xml"/><Relationship Id="rId3" Type="http://schemas.openxmlformats.org/officeDocument/2006/relationships/slideLayout" Target="../slideLayouts/slideLayout494.xml"/><Relationship Id="rId21" Type="http://schemas.openxmlformats.org/officeDocument/2006/relationships/vmlDrawing" Target="../drawings/vmlDrawing157.vml"/><Relationship Id="rId7" Type="http://schemas.openxmlformats.org/officeDocument/2006/relationships/slideLayout" Target="../slideLayouts/slideLayout498.xml"/><Relationship Id="rId12" Type="http://schemas.openxmlformats.org/officeDocument/2006/relationships/slideLayout" Target="../slideLayouts/slideLayout503.xml"/><Relationship Id="rId17" Type="http://schemas.openxmlformats.org/officeDocument/2006/relationships/slideLayout" Target="../slideLayouts/slideLayout508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493.xml"/><Relationship Id="rId16" Type="http://schemas.openxmlformats.org/officeDocument/2006/relationships/slideLayout" Target="../slideLayouts/slideLayout507.xml"/><Relationship Id="rId20" Type="http://schemas.openxmlformats.org/officeDocument/2006/relationships/theme" Target="../theme/theme25.xml"/><Relationship Id="rId1" Type="http://schemas.openxmlformats.org/officeDocument/2006/relationships/slideLayout" Target="../slideLayouts/slideLayout492.xml"/><Relationship Id="rId6" Type="http://schemas.openxmlformats.org/officeDocument/2006/relationships/slideLayout" Target="../slideLayouts/slideLayout497.xml"/><Relationship Id="rId11" Type="http://schemas.openxmlformats.org/officeDocument/2006/relationships/slideLayout" Target="../slideLayouts/slideLayout502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496.xml"/><Relationship Id="rId15" Type="http://schemas.openxmlformats.org/officeDocument/2006/relationships/slideLayout" Target="../slideLayouts/slideLayout506.xml"/><Relationship Id="rId23" Type="http://schemas.openxmlformats.org/officeDocument/2006/relationships/oleObject" Target="../embeddings/oleObject167.bin"/><Relationship Id="rId10" Type="http://schemas.openxmlformats.org/officeDocument/2006/relationships/slideLayout" Target="../slideLayouts/slideLayout501.xml"/><Relationship Id="rId19" Type="http://schemas.openxmlformats.org/officeDocument/2006/relationships/slideLayout" Target="../slideLayouts/slideLayout510.xml"/><Relationship Id="rId4" Type="http://schemas.openxmlformats.org/officeDocument/2006/relationships/slideLayout" Target="../slideLayouts/slideLayout495.xml"/><Relationship Id="rId9" Type="http://schemas.openxmlformats.org/officeDocument/2006/relationships/slideLayout" Target="../slideLayouts/slideLayout500.xml"/><Relationship Id="rId14" Type="http://schemas.openxmlformats.org/officeDocument/2006/relationships/slideLayout" Target="../slideLayouts/slideLayout505.xml"/><Relationship Id="rId22" Type="http://schemas.openxmlformats.org/officeDocument/2006/relationships/tags" Target="../tags/tag172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8.xml"/><Relationship Id="rId13" Type="http://schemas.openxmlformats.org/officeDocument/2006/relationships/slideLayout" Target="../slideLayouts/slideLayout523.xml"/><Relationship Id="rId18" Type="http://schemas.openxmlformats.org/officeDocument/2006/relationships/slideLayout" Target="../slideLayouts/slideLayout528.xml"/><Relationship Id="rId3" Type="http://schemas.openxmlformats.org/officeDocument/2006/relationships/slideLayout" Target="../slideLayouts/slideLayout513.xml"/><Relationship Id="rId21" Type="http://schemas.openxmlformats.org/officeDocument/2006/relationships/vmlDrawing" Target="../drawings/vmlDrawing158.vml"/><Relationship Id="rId7" Type="http://schemas.openxmlformats.org/officeDocument/2006/relationships/slideLayout" Target="../slideLayouts/slideLayout517.xml"/><Relationship Id="rId12" Type="http://schemas.openxmlformats.org/officeDocument/2006/relationships/slideLayout" Target="../slideLayouts/slideLayout522.xml"/><Relationship Id="rId17" Type="http://schemas.openxmlformats.org/officeDocument/2006/relationships/slideLayout" Target="../slideLayouts/slideLayout527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512.xml"/><Relationship Id="rId16" Type="http://schemas.openxmlformats.org/officeDocument/2006/relationships/slideLayout" Target="../slideLayouts/slideLayout526.xml"/><Relationship Id="rId20" Type="http://schemas.openxmlformats.org/officeDocument/2006/relationships/theme" Target="../theme/theme26.xml"/><Relationship Id="rId1" Type="http://schemas.openxmlformats.org/officeDocument/2006/relationships/slideLayout" Target="../slideLayouts/slideLayout511.xml"/><Relationship Id="rId6" Type="http://schemas.openxmlformats.org/officeDocument/2006/relationships/slideLayout" Target="../slideLayouts/slideLayout516.xml"/><Relationship Id="rId11" Type="http://schemas.openxmlformats.org/officeDocument/2006/relationships/slideLayout" Target="../slideLayouts/slideLayout521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515.xml"/><Relationship Id="rId15" Type="http://schemas.openxmlformats.org/officeDocument/2006/relationships/slideLayout" Target="../slideLayouts/slideLayout525.xml"/><Relationship Id="rId23" Type="http://schemas.openxmlformats.org/officeDocument/2006/relationships/oleObject" Target="../embeddings/oleObject168.bin"/><Relationship Id="rId10" Type="http://schemas.openxmlformats.org/officeDocument/2006/relationships/slideLayout" Target="../slideLayouts/slideLayout520.xml"/><Relationship Id="rId19" Type="http://schemas.openxmlformats.org/officeDocument/2006/relationships/slideLayout" Target="../slideLayouts/slideLayout529.xml"/><Relationship Id="rId4" Type="http://schemas.openxmlformats.org/officeDocument/2006/relationships/slideLayout" Target="../slideLayouts/slideLayout514.xml"/><Relationship Id="rId9" Type="http://schemas.openxmlformats.org/officeDocument/2006/relationships/slideLayout" Target="../slideLayouts/slideLayout519.xml"/><Relationship Id="rId14" Type="http://schemas.openxmlformats.org/officeDocument/2006/relationships/slideLayout" Target="../slideLayouts/slideLayout524.xml"/><Relationship Id="rId22" Type="http://schemas.openxmlformats.org/officeDocument/2006/relationships/tags" Target="../tags/tag173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7.xml"/><Relationship Id="rId13" Type="http://schemas.openxmlformats.org/officeDocument/2006/relationships/slideLayout" Target="../slideLayouts/slideLayout542.xml"/><Relationship Id="rId18" Type="http://schemas.openxmlformats.org/officeDocument/2006/relationships/slideLayout" Target="../slideLayouts/slideLayout547.xml"/><Relationship Id="rId3" Type="http://schemas.openxmlformats.org/officeDocument/2006/relationships/slideLayout" Target="../slideLayouts/slideLayout532.xml"/><Relationship Id="rId21" Type="http://schemas.openxmlformats.org/officeDocument/2006/relationships/vmlDrawing" Target="../drawings/vmlDrawing159.vml"/><Relationship Id="rId7" Type="http://schemas.openxmlformats.org/officeDocument/2006/relationships/slideLayout" Target="../slideLayouts/slideLayout536.xml"/><Relationship Id="rId12" Type="http://schemas.openxmlformats.org/officeDocument/2006/relationships/slideLayout" Target="../slideLayouts/slideLayout541.xml"/><Relationship Id="rId17" Type="http://schemas.openxmlformats.org/officeDocument/2006/relationships/slideLayout" Target="../slideLayouts/slideLayout546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531.xml"/><Relationship Id="rId16" Type="http://schemas.openxmlformats.org/officeDocument/2006/relationships/slideLayout" Target="../slideLayouts/slideLayout545.xml"/><Relationship Id="rId20" Type="http://schemas.openxmlformats.org/officeDocument/2006/relationships/theme" Target="../theme/theme27.xml"/><Relationship Id="rId1" Type="http://schemas.openxmlformats.org/officeDocument/2006/relationships/slideLayout" Target="../slideLayouts/slideLayout530.xml"/><Relationship Id="rId6" Type="http://schemas.openxmlformats.org/officeDocument/2006/relationships/slideLayout" Target="../slideLayouts/slideLayout535.xml"/><Relationship Id="rId11" Type="http://schemas.openxmlformats.org/officeDocument/2006/relationships/slideLayout" Target="../slideLayouts/slideLayout540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534.xml"/><Relationship Id="rId15" Type="http://schemas.openxmlformats.org/officeDocument/2006/relationships/slideLayout" Target="../slideLayouts/slideLayout544.xml"/><Relationship Id="rId23" Type="http://schemas.openxmlformats.org/officeDocument/2006/relationships/oleObject" Target="../embeddings/oleObject169.bin"/><Relationship Id="rId10" Type="http://schemas.openxmlformats.org/officeDocument/2006/relationships/slideLayout" Target="../slideLayouts/slideLayout539.xml"/><Relationship Id="rId19" Type="http://schemas.openxmlformats.org/officeDocument/2006/relationships/slideLayout" Target="../slideLayouts/slideLayout548.xml"/><Relationship Id="rId4" Type="http://schemas.openxmlformats.org/officeDocument/2006/relationships/slideLayout" Target="../slideLayouts/slideLayout533.xml"/><Relationship Id="rId9" Type="http://schemas.openxmlformats.org/officeDocument/2006/relationships/slideLayout" Target="../slideLayouts/slideLayout538.xml"/><Relationship Id="rId14" Type="http://schemas.openxmlformats.org/officeDocument/2006/relationships/slideLayout" Target="../slideLayouts/slideLayout543.xml"/><Relationship Id="rId22" Type="http://schemas.openxmlformats.org/officeDocument/2006/relationships/tags" Target="../tags/tag174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6.xml"/><Relationship Id="rId13" Type="http://schemas.openxmlformats.org/officeDocument/2006/relationships/slideLayout" Target="../slideLayouts/slideLayout561.xml"/><Relationship Id="rId18" Type="http://schemas.openxmlformats.org/officeDocument/2006/relationships/slideLayout" Target="../slideLayouts/slideLayout566.xml"/><Relationship Id="rId3" Type="http://schemas.openxmlformats.org/officeDocument/2006/relationships/slideLayout" Target="../slideLayouts/slideLayout551.xml"/><Relationship Id="rId21" Type="http://schemas.openxmlformats.org/officeDocument/2006/relationships/vmlDrawing" Target="../drawings/vmlDrawing160.vml"/><Relationship Id="rId7" Type="http://schemas.openxmlformats.org/officeDocument/2006/relationships/slideLayout" Target="../slideLayouts/slideLayout555.xml"/><Relationship Id="rId12" Type="http://schemas.openxmlformats.org/officeDocument/2006/relationships/slideLayout" Target="../slideLayouts/slideLayout560.xml"/><Relationship Id="rId17" Type="http://schemas.openxmlformats.org/officeDocument/2006/relationships/slideLayout" Target="../slideLayouts/slideLayout565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550.xml"/><Relationship Id="rId16" Type="http://schemas.openxmlformats.org/officeDocument/2006/relationships/slideLayout" Target="../slideLayouts/slideLayout564.xml"/><Relationship Id="rId20" Type="http://schemas.openxmlformats.org/officeDocument/2006/relationships/theme" Target="../theme/theme28.xml"/><Relationship Id="rId1" Type="http://schemas.openxmlformats.org/officeDocument/2006/relationships/slideLayout" Target="../slideLayouts/slideLayout549.xml"/><Relationship Id="rId6" Type="http://schemas.openxmlformats.org/officeDocument/2006/relationships/slideLayout" Target="../slideLayouts/slideLayout554.xml"/><Relationship Id="rId11" Type="http://schemas.openxmlformats.org/officeDocument/2006/relationships/slideLayout" Target="../slideLayouts/slideLayout559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553.xml"/><Relationship Id="rId15" Type="http://schemas.openxmlformats.org/officeDocument/2006/relationships/slideLayout" Target="../slideLayouts/slideLayout563.xml"/><Relationship Id="rId23" Type="http://schemas.openxmlformats.org/officeDocument/2006/relationships/oleObject" Target="../embeddings/oleObject170.bin"/><Relationship Id="rId10" Type="http://schemas.openxmlformats.org/officeDocument/2006/relationships/slideLayout" Target="../slideLayouts/slideLayout558.xml"/><Relationship Id="rId19" Type="http://schemas.openxmlformats.org/officeDocument/2006/relationships/slideLayout" Target="../slideLayouts/slideLayout567.xml"/><Relationship Id="rId4" Type="http://schemas.openxmlformats.org/officeDocument/2006/relationships/slideLayout" Target="../slideLayouts/slideLayout552.xml"/><Relationship Id="rId9" Type="http://schemas.openxmlformats.org/officeDocument/2006/relationships/slideLayout" Target="../slideLayouts/slideLayout557.xml"/><Relationship Id="rId14" Type="http://schemas.openxmlformats.org/officeDocument/2006/relationships/slideLayout" Target="../slideLayouts/slideLayout562.xml"/><Relationship Id="rId22" Type="http://schemas.openxmlformats.org/officeDocument/2006/relationships/tags" Target="../tags/tag175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5.xml"/><Relationship Id="rId13" Type="http://schemas.openxmlformats.org/officeDocument/2006/relationships/slideLayout" Target="../slideLayouts/slideLayout580.xml"/><Relationship Id="rId18" Type="http://schemas.openxmlformats.org/officeDocument/2006/relationships/slideLayout" Target="../slideLayouts/slideLayout585.xml"/><Relationship Id="rId3" Type="http://schemas.openxmlformats.org/officeDocument/2006/relationships/slideLayout" Target="../slideLayouts/slideLayout570.xml"/><Relationship Id="rId21" Type="http://schemas.openxmlformats.org/officeDocument/2006/relationships/vmlDrawing" Target="../drawings/vmlDrawing161.vml"/><Relationship Id="rId7" Type="http://schemas.openxmlformats.org/officeDocument/2006/relationships/slideLayout" Target="../slideLayouts/slideLayout574.xml"/><Relationship Id="rId12" Type="http://schemas.openxmlformats.org/officeDocument/2006/relationships/slideLayout" Target="../slideLayouts/slideLayout579.xml"/><Relationship Id="rId17" Type="http://schemas.openxmlformats.org/officeDocument/2006/relationships/slideLayout" Target="../slideLayouts/slideLayout584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569.xml"/><Relationship Id="rId16" Type="http://schemas.openxmlformats.org/officeDocument/2006/relationships/slideLayout" Target="../slideLayouts/slideLayout583.xml"/><Relationship Id="rId20" Type="http://schemas.openxmlformats.org/officeDocument/2006/relationships/theme" Target="../theme/theme29.xml"/><Relationship Id="rId1" Type="http://schemas.openxmlformats.org/officeDocument/2006/relationships/slideLayout" Target="../slideLayouts/slideLayout568.xml"/><Relationship Id="rId6" Type="http://schemas.openxmlformats.org/officeDocument/2006/relationships/slideLayout" Target="../slideLayouts/slideLayout573.xml"/><Relationship Id="rId11" Type="http://schemas.openxmlformats.org/officeDocument/2006/relationships/slideLayout" Target="../slideLayouts/slideLayout578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572.xml"/><Relationship Id="rId15" Type="http://schemas.openxmlformats.org/officeDocument/2006/relationships/slideLayout" Target="../slideLayouts/slideLayout582.xml"/><Relationship Id="rId23" Type="http://schemas.openxmlformats.org/officeDocument/2006/relationships/oleObject" Target="../embeddings/oleObject171.bin"/><Relationship Id="rId10" Type="http://schemas.openxmlformats.org/officeDocument/2006/relationships/slideLayout" Target="../slideLayouts/slideLayout577.xml"/><Relationship Id="rId19" Type="http://schemas.openxmlformats.org/officeDocument/2006/relationships/slideLayout" Target="../slideLayouts/slideLayout586.xml"/><Relationship Id="rId4" Type="http://schemas.openxmlformats.org/officeDocument/2006/relationships/slideLayout" Target="../slideLayouts/slideLayout571.xml"/><Relationship Id="rId9" Type="http://schemas.openxmlformats.org/officeDocument/2006/relationships/slideLayout" Target="../slideLayouts/slideLayout576.xml"/><Relationship Id="rId14" Type="http://schemas.openxmlformats.org/officeDocument/2006/relationships/slideLayout" Target="../slideLayouts/slideLayout581.xml"/><Relationship Id="rId22" Type="http://schemas.openxmlformats.org/officeDocument/2006/relationships/tags" Target="../tags/tag17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2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vmlDrawing" Target="../drawings/vmlDrawing19.vml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3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oleObject" Target="../embeddings/oleObject23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4.xml"/><Relationship Id="rId13" Type="http://schemas.openxmlformats.org/officeDocument/2006/relationships/slideLayout" Target="../slideLayouts/slideLayout599.xml"/><Relationship Id="rId18" Type="http://schemas.openxmlformats.org/officeDocument/2006/relationships/slideLayout" Target="../slideLayouts/slideLayout604.xml"/><Relationship Id="rId3" Type="http://schemas.openxmlformats.org/officeDocument/2006/relationships/slideLayout" Target="../slideLayouts/slideLayout589.xml"/><Relationship Id="rId21" Type="http://schemas.openxmlformats.org/officeDocument/2006/relationships/vmlDrawing" Target="../drawings/vmlDrawing162.vml"/><Relationship Id="rId7" Type="http://schemas.openxmlformats.org/officeDocument/2006/relationships/slideLayout" Target="../slideLayouts/slideLayout593.xml"/><Relationship Id="rId12" Type="http://schemas.openxmlformats.org/officeDocument/2006/relationships/slideLayout" Target="../slideLayouts/slideLayout598.xml"/><Relationship Id="rId17" Type="http://schemas.openxmlformats.org/officeDocument/2006/relationships/slideLayout" Target="../slideLayouts/slideLayout603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588.xml"/><Relationship Id="rId16" Type="http://schemas.openxmlformats.org/officeDocument/2006/relationships/slideLayout" Target="../slideLayouts/slideLayout602.xml"/><Relationship Id="rId20" Type="http://schemas.openxmlformats.org/officeDocument/2006/relationships/theme" Target="../theme/theme30.xml"/><Relationship Id="rId1" Type="http://schemas.openxmlformats.org/officeDocument/2006/relationships/slideLayout" Target="../slideLayouts/slideLayout587.xml"/><Relationship Id="rId6" Type="http://schemas.openxmlformats.org/officeDocument/2006/relationships/slideLayout" Target="../slideLayouts/slideLayout592.xml"/><Relationship Id="rId11" Type="http://schemas.openxmlformats.org/officeDocument/2006/relationships/slideLayout" Target="../slideLayouts/slideLayout597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591.xml"/><Relationship Id="rId15" Type="http://schemas.openxmlformats.org/officeDocument/2006/relationships/slideLayout" Target="../slideLayouts/slideLayout601.xml"/><Relationship Id="rId23" Type="http://schemas.openxmlformats.org/officeDocument/2006/relationships/oleObject" Target="../embeddings/oleObject172.bin"/><Relationship Id="rId10" Type="http://schemas.openxmlformats.org/officeDocument/2006/relationships/slideLayout" Target="../slideLayouts/slideLayout596.xml"/><Relationship Id="rId19" Type="http://schemas.openxmlformats.org/officeDocument/2006/relationships/slideLayout" Target="../slideLayouts/slideLayout605.xml"/><Relationship Id="rId4" Type="http://schemas.openxmlformats.org/officeDocument/2006/relationships/slideLayout" Target="../slideLayouts/slideLayout590.xml"/><Relationship Id="rId9" Type="http://schemas.openxmlformats.org/officeDocument/2006/relationships/slideLayout" Target="../slideLayouts/slideLayout595.xml"/><Relationship Id="rId14" Type="http://schemas.openxmlformats.org/officeDocument/2006/relationships/slideLayout" Target="../slideLayouts/slideLayout600.xml"/><Relationship Id="rId22" Type="http://schemas.openxmlformats.org/officeDocument/2006/relationships/tags" Target="../tags/tag177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3.xml"/><Relationship Id="rId13" Type="http://schemas.openxmlformats.org/officeDocument/2006/relationships/slideLayout" Target="../slideLayouts/slideLayout618.xml"/><Relationship Id="rId18" Type="http://schemas.openxmlformats.org/officeDocument/2006/relationships/slideLayout" Target="../slideLayouts/slideLayout623.xml"/><Relationship Id="rId3" Type="http://schemas.openxmlformats.org/officeDocument/2006/relationships/slideLayout" Target="../slideLayouts/slideLayout608.xml"/><Relationship Id="rId21" Type="http://schemas.openxmlformats.org/officeDocument/2006/relationships/vmlDrawing" Target="../drawings/vmlDrawing163.vml"/><Relationship Id="rId7" Type="http://schemas.openxmlformats.org/officeDocument/2006/relationships/slideLayout" Target="../slideLayouts/slideLayout612.xml"/><Relationship Id="rId12" Type="http://schemas.openxmlformats.org/officeDocument/2006/relationships/slideLayout" Target="../slideLayouts/slideLayout617.xml"/><Relationship Id="rId17" Type="http://schemas.openxmlformats.org/officeDocument/2006/relationships/slideLayout" Target="../slideLayouts/slideLayout622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607.xml"/><Relationship Id="rId16" Type="http://schemas.openxmlformats.org/officeDocument/2006/relationships/slideLayout" Target="../slideLayouts/slideLayout621.xml"/><Relationship Id="rId20" Type="http://schemas.openxmlformats.org/officeDocument/2006/relationships/theme" Target="../theme/theme31.xml"/><Relationship Id="rId1" Type="http://schemas.openxmlformats.org/officeDocument/2006/relationships/slideLayout" Target="../slideLayouts/slideLayout606.xml"/><Relationship Id="rId6" Type="http://schemas.openxmlformats.org/officeDocument/2006/relationships/slideLayout" Target="../slideLayouts/slideLayout611.xml"/><Relationship Id="rId11" Type="http://schemas.openxmlformats.org/officeDocument/2006/relationships/slideLayout" Target="../slideLayouts/slideLayout616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610.xml"/><Relationship Id="rId15" Type="http://schemas.openxmlformats.org/officeDocument/2006/relationships/slideLayout" Target="../slideLayouts/slideLayout620.xml"/><Relationship Id="rId23" Type="http://schemas.openxmlformats.org/officeDocument/2006/relationships/oleObject" Target="../embeddings/oleObject173.bin"/><Relationship Id="rId10" Type="http://schemas.openxmlformats.org/officeDocument/2006/relationships/slideLayout" Target="../slideLayouts/slideLayout615.xml"/><Relationship Id="rId19" Type="http://schemas.openxmlformats.org/officeDocument/2006/relationships/slideLayout" Target="../slideLayouts/slideLayout624.xml"/><Relationship Id="rId4" Type="http://schemas.openxmlformats.org/officeDocument/2006/relationships/slideLayout" Target="../slideLayouts/slideLayout609.xml"/><Relationship Id="rId9" Type="http://schemas.openxmlformats.org/officeDocument/2006/relationships/slideLayout" Target="../slideLayouts/slideLayout614.xml"/><Relationship Id="rId14" Type="http://schemas.openxmlformats.org/officeDocument/2006/relationships/slideLayout" Target="../slideLayouts/slideLayout619.xml"/><Relationship Id="rId22" Type="http://schemas.openxmlformats.org/officeDocument/2006/relationships/tags" Target="../tags/tag178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2.xml"/><Relationship Id="rId13" Type="http://schemas.openxmlformats.org/officeDocument/2006/relationships/slideLayout" Target="../slideLayouts/slideLayout637.xml"/><Relationship Id="rId18" Type="http://schemas.openxmlformats.org/officeDocument/2006/relationships/slideLayout" Target="../slideLayouts/slideLayout642.xml"/><Relationship Id="rId3" Type="http://schemas.openxmlformats.org/officeDocument/2006/relationships/slideLayout" Target="../slideLayouts/slideLayout627.xml"/><Relationship Id="rId21" Type="http://schemas.openxmlformats.org/officeDocument/2006/relationships/vmlDrawing" Target="../drawings/vmlDrawing164.vml"/><Relationship Id="rId7" Type="http://schemas.openxmlformats.org/officeDocument/2006/relationships/slideLayout" Target="../slideLayouts/slideLayout631.xml"/><Relationship Id="rId12" Type="http://schemas.openxmlformats.org/officeDocument/2006/relationships/slideLayout" Target="../slideLayouts/slideLayout636.xml"/><Relationship Id="rId17" Type="http://schemas.openxmlformats.org/officeDocument/2006/relationships/slideLayout" Target="../slideLayouts/slideLayout641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626.xml"/><Relationship Id="rId16" Type="http://schemas.openxmlformats.org/officeDocument/2006/relationships/slideLayout" Target="../slideLayouts/slideLayout640.xml"/><Relationship Id="rId20" Type="http://schemas.openxmlformats.org/officeDocument/2006/relationships/theme" Target="../theme/theme32.xml"/><Relationship Id="rId1" Type="http://schemas.openxmlformats.org/officeDocument/2006/relationships/slideLayout" Target="../slideLayouts/slideLayout625.xml"/><Relationship Id="rId6" Type="http://schemas.openxmlformats.org/officeDocument/2006/relationships/slideLayout" Target="../slideLayouts/slideLayout630.xml"/><Relationship Id="rId11" Type="http://schemas.openxmlformats.org/officeDocument/2006/relationships/slideLayout" Target="../slideLayouts/slideLayout635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629.xml"/><Relationship Id="rId15" Type="http://schemas.openxmlformats.org/officeDocument/2006/relationships/slideLayout" Target="../slideLayouts/slideLayout639.xml"/><Relationship Id="rId23" Type="http://schemas.openxmlformats.org/officeDocument/2006/relationships/oleObject" Target="../embeddings/oleObject174.bin"/><Relationship Id="rId10" Type="http://schemas.openxmlformats.org/officeDocument/2006/relationships/slideLayout" Target="../slideLayouts/slideLayout634.xml"/><Relationship Id="rId19" Type="http://schemas.openxmlformats.org/officeDocument/2006/relationships/slideLayout" Target="../slideLayouts/slideLayout643.xml"/><Relationship Id="rId4" Type="http://schemas.openxmlformats.org/officeDocument/2006/relationships/slideLayout" Target="../slideLayouts/slideLayout628.xml"/><Relationship Id="rId9" Type="http://schemas.openxmlformats.org/officeDocument/2006/relationships/slideLayout" Target="../slideLayouts/slideLayout633.xml"/><Relationship Id="rId14" Type="http://schemas.openxmlformats.org/officeDocument/2006/relationships/slideLayout" Target="../slideLayouts/slideLayout638.xml"/><Relationship Id="rId22" Type="http://schemas.openxmlformats.org/officeDocument/2006/relationships/tags" Target="../tags/tag179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1.xml"/><Relationship Id="rId13" Type="http://schemas.openxmlformats.org/officeDocument/2006/relationships/slideLayout" Target="../slideLayouts/slideLayout656.xml"/><Relationship Id="rId18" Type="http://schemas.openxmlformats.org/officeDocument/2006/relationships/slideLayout" Target="../slideLayouts/slideLayout661.xml"/><Relationship Id="rId3" Type="http://schemas.openxmlformats.org/officeDocument/2006/relationships/slideLayout" Target="../slideLayouts/slideLayout646.xml"/><Relationship Id="rId21" Type="http://schemas.openxmlformats.org/officeDocument/2006/relationships/vmlDrawing" Target="../drawings/vmlDrawing165.vml"/><Relationship Id="rId7" Type="http://schemas.openxmlformats.org/officeDocument/2006/relationships/slideLayout" Target="../slideLayouts/slideLayout650.xml"/><Relationship Id="rId12" Type="http://schemas.openxmlformats.org/officeDocument/2006/relationships/slideLayout" Target="../slideLayouts/slideLayout655.xml"/><Relationship Id="rId17" Type="http://schemas.openxmlformats.org/officeDocument/2006/relationships/slideLayout" Target="../slideLayouts/slideLayout660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645.xml"/><Relationship Id="rId16" Type="http://schemas.openxmlformats.org/officeDocument/2006/relationships/slideLayout" Target="../slideLayouts/slideLayout659.xml"/><Relationship Id="rId20" Type="http://schemas.openxmlformats.org/officeDocument/2006/relationships/theme" Target="../theme/theme33.xml"/><Relationship Id="rId1" Type="http://schemas.openxmlformats.org/officeDocument/2006/relationships/slideLayout" Target="../slideLayouts/slideLayout644.xml"/><Relationship Id="rId6" Type="http://schemas.openxmlformats.org/officeDocument/2006/relationships/slideLayout" Target="../slideLayouts/slideLayout649.xml"/><Relationship Id="rId11" Type="http://schemas.openxmlformats.org/officeDocument/2006/relationships/slideLayout" Target="../slideLayouts/slideLayout654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648.xml"/><Relationship Id="rId15" Type="http://schemas.openxmlformats.org/officeDocument/2006/relationships/slideLayout" Target="../slideLayouts/slideLayout658.xml"/><Relationship Id="rId23" Type="http://schemas.openxmlformats.org/officeDocument/2006/relationships/oleObject" Target="../embeddings/oleObject175.bin"/><Relationship Id="rId10" Type="http://schemas.openxmlformats.org/officeDocument/2006/relationships/slideLayout" Target="../slideLayouts/slideLayout653.xml"/><Relationship Id="rId19" Type="http://schemas.openxmlformats.org/officeDocument/2006/relationships/slideLayout" Target="../slideLayouts/slideLayout662.xml"/><Relationship Id="rId4" Type="http://schemas.openxmlformats.org/officeDocument/2006/relationships/slideLayout" Target="../slideLayouts/slideLayout647.xml"/><Relationship Id="rId9" Type="http://schemas.openxmlformats.org/officeDocument/2006/relationships/slideLayout" Target="../slideLayouts/slideLayout652.xml"/><Relationship Id="rId14" Type="http://schemas.openxmlformats.org/officeDocument/2006/relationships/slideLayout" Target="../slideLayouts/slideLayout657.xml"/><Relationship Id="rId22" Type="http://schemas.openxmlformats.org/officeDocument/2006/relationships/tags" Target="../tags/tag180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0.xml"/><Relationship Id="rId13" Type="http://schemas.openxmlformats.org/officeDocument/2006/relationships/slideLayout" Target="../slideLayouts/slideLayout675.xml"/><Relationship Id="rId18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65.xml"/><Relationship Id="rId21" Type="http://schemas.openxmlformats.org/officeDocument/2006/relationships/vmlDrawing" Target="../drawings/vmlDrawing166.vml"/><Relationship Id="rId7" Type="http://schemas.openxmlformats.org/officeDocument/2006/relationships/slideLayout" Target="../slideLayouts/slideLayout669.xml"/><Relationship Id="rId12" Type="http://schemas.openxmlformats.org/officeDocument/2006/relationships/slideLayout" Target="../slideLayouts/slideLayout674.xml"/><Relationship Id="rId17" Type="http://schemas.openxmlformats.org/officeDocument/2006/relationships/slideLayout" Target="../slideLayouts/slideLayout679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664.xml"/><Relationship Id="rId16" Type="http://schemas.openxmlformats.org/officeDocument/2006/relationships/slideLayout" Target="../slideLayouts/slideLayout678.xml"/><Relationship Id="rId20" Type="http://schemas.openxmlformats.org/officeDocument/2006/relationships/theme" Target="../theme/theme34.xml"/><Relationship Id="rId1" Type="http://schemas.openxmlformats.org/officeDocument/2006/relationships/slideLayout" Target="../slideLayouts/slideLayout663.xml"/><Relationship Id="rId6" Type="http://schemas.openxmlformats.org/officeDocument/2006/relationships/slideLayout" Target="../slideLayouts/slideLayout668.xml"/><Relationship Id="rId11" Type="http://schemas.openxmlformats.org/officeDocument/2006/relationships/slideLayout" Target="../slideLayouts/slideLayout673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667.xml"/><Relationship Id="rId15" Type="http://schemas.openxmlformats.org/officeDocument/2006/relationships/slideLayout" Target="../slideLayouts/slideLayout677.xml"/><Relationship Id="rId23" Type="http://schemas.openxmlformats.org/officeDocument/2006/relationships/oleObject" Target="../embeddings/oleObject176.bin"/><Relationship Id="rId10" Type="http://schemas.openxmlformats.org/officeDocument/2006/relationships/slideLayout" Target="../slideLayouts/slideLayout672.xml"/><Relationship Id="rId19" Type="http://schemas.openxmlformats.org/officeDocument/2006/relationships/slideLayout" Target="../slideLayouts/slideLayout681.xml"/><Relationship Id="rId4" Type="http://schemas.openxmlformats.org/officeDocument/2006/relationships/slideLayout" Target="../slideLayouts/slideLayout666.xml"/><Relationship Id="rId9" Type="http://schemas.openxmlformats.org/officeDocument/2006/relationships/slideLayout" Target="../slideLayouts/slideLayout671.xml"/><Relationship Id="rId14" Type="http://schemas.openxmlformats.org/officeDocument/2006/relationships/slideLayout" Target="../slideLayouts/slideLayout676.xml"/><Relationship Id="rId22" Type="http://schemas.openxmlformats.org/officeDocument/2006/relationships/tags" Target="../tags/tag181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9.xml"/><Relationship Id="rId13" Type="http://schemas.openxmlformats.org/officeDocument/2006/relationships/slideLayout" Target="../slideLayouts/slideLayout694.xml"/><Relationship Id="rId18" Type="http://schemas.openxmlformats.org/officeDocument/2006/relationships/slideLayout" Target="../slideLayouts/slideLayout699.xml"/><Relationship Id="rId3" Type="http://schemas.openxmlformats.org/officeDocument/2006/relationships/slideLayout" Target="../slideLayouts/slideLayout684.xml"/><Relationship Id="rId21" Type="http://schemas.openxmlformats.org/officeDocument/2006/relationships/vmlDrawing" Target="../drawings/vmlDrawing167.vml"/><Relationship Id="rId7" Type="http://schemas.openxmlformats.org/officeDocument/2006/relationships/slideLayout" Target="../slideLayouts/slideLayout688.xml"/><Relationship Id="rId12" Type="http://schemas.openxmlformats.org/officeDocument/2006/relationships/slideLayout" Target="../slideLayouts/slideLayout693.xml"/><Relationship Id="rId17" Type="http://schemas.openxmlformats.org/officeDocument/2006/relationships/slideLayout" Target="../slideLayouts/slideLayout698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683.xml"/><Relationship Id="rId16" Type="http://schemas.openxmlformats.org/officeDocument/2006/relationships/slideLayout" Target="../slideLayouts/slideLayout697.xml"/><Relationship Id="rId20" Type="http://schemas.openxmlformats.org/officeDocument/2006/relationships/theme" Target="../theme/theme35.xml"/><Relationship Id="rId1" Type="http://schemas.openxmlformats.org/officeDocument/2006/relationships/slideLayout" Target="../slideLayouts/slideLayout682.xml"/><Relationship Id="rId6" Type="http://schemas.openxmlformats.org/officeDocument/2006/relationships/slideLayout" Target="../slideLayouts/slideLayout687.xml"/><Relationship Id="rId11" Type="http://schemas.openxmlformats.org/officeDocument/2006/relationships/slideLayout" Target="../slideLayouts/slideLayout692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686.xml"/><Relationship Id="rId15" Type="http://schemas.openxmlformats.org/officeDocument/2006/relationships/slideLayout" Target="../slideLayouts/slideLayout696.xml"/><Relationship Id="rId23" Type="http://schemas.openxmlformats.org/officeDocument/2006/relationships/oleObject" Target="../embeddings/oleObject177.bin"/><Relationship Id="rId10" Type="http://schemas.openxmlformats.org/officeDocument/2006/relationships/slideLayout" Target="../slideLayouts/slideLayout691.xml"/><Relationship Id="rId19" Type="http://schemas.openxmlformats.org/officeDocument/2006/relationships/slideLayout" Target="../slideLayouts/slideLayout700.xml"/><Relationship Id="rId4" Type="http://schemas.openxmlformats.org/officeDocument/2006/relationships/slideLayout" Target="../slideLayouts/slideLayout685.xml"/><Relationship Id="rId9" Type="http://schemas.openxmlformats.org/officeDocument/2006/relationships/slideLayout" Target="../slideLayouts/slideLayout690.xml"/><Relationship Id="rId14" Type="http://schemas.openxmlformats.org/officeDocument/2006/relationships/slideLayout" Target="../slideLayouts/slideLayout695.xml"/><Relationship Id="rId22" Type="http://schemas.openxmlformats.org/officeDocument/2006/relationships/tags" Target="../tags/tag182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8.xml"/><Relationship Id="rId13" Type="http://schemas.openxmlformats.org/officeDocument/2006/relationships/slideLayout" Target="../slideLayouts/slideLayout713.xml"/><Relationship Id="rId18" Type="http://schemas.openxmlformats.org/officeDocument/2006/relationships/slideLayout" Target="../slideLayouts/slideLayout718.xml"/><Relationship Id="rId3" Type="http://schemas.openxmlformats.org/officeDocument/2006/relationships/slideLayout" Target="../slideLayouts/slideLayout703.xml"/><Relationship Id="rId21" Type="http://schemas.openxmlformats.org/officeDocument/2006/relationships/vmlDrawing" Target="../drawings/vmlDrawing168.vml"/><Relationship Id="rId7" Type="http://schemas.openxmlformats.org/officeDocument/2006/relationships/slideLayout" Target="../slideLayouts/slideLayout707.xml"/><Relationship Id="rId12" Type="http://schemas.openxmlformats.org/officeDocument/2006/relationships/slideLayout" Target="../slideLayouts/slideLayout712.xml"/><Relationship Id="rId17" Type="http://schemas.openxmlformats.org/officeDocument/2006/relationships/slideLayout" Target="../slideLayouts/slideLayout717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702.xml"/><Relationship Id="rId16" Type="http://schemas.openxmlformats.org/officeDocument/2006/relationships/slideLayout" Target="../slideLayouts/slideLayout716.xml"/><Relationship Id="rId20" Type="http://schemas.openxmlformats.org/officeDocument/2006/relationships/theme" Target="../theme/theme36.xml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Relationship Id="rId11" Type="http://schemas.openxmlformats.org/officeDocument/2006/relationships/slideLayout" Target="../slideLayouts/slideLayout711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705.xml"/><Relationship Id="rId15" Type="http://schemas.openxmlformats.org/officeDocument/2006/relationships/slideLayout" Target="../slideLayouts/slideLayout715.xml"/><Relationship Id="rId23" Type="http://schemas.openxmlformats.org/officeDocument/2006/relationships/oleObject" Target="../embeddings/oleObject178.bin"/><Relationship Id="rId10" Type="http://schemas.openxmlformats.org/officeDocument/2006/relationships/slideLayout" Target="../slideLayouts/slideLayout710.xml"/><Relationship Id="rId19" Type="http://schemas.openxmlformats.org/officeDocument/2006/relationships/slideLayout" Target="../slideLayouts/slideLayout719.xml"/><Relationship Id="rId4" Type="http://schemas.openxmlformats.org/officeDocument/2006/relationships/slideLayout" Target="../slideLayouts/slideLayout704.xml"/><Relationship Id="rId9" Type="http://schemas.openxmlformats.org/officeDocument/2006/relationships/slideLayout" Target="../slideLayouts/slideLayout709.xml"/><Relationship Id="rId14" Type="http://schemas.openxmlformats.org/officeDocument/2006/relationships/slideLayout" Target="../slideLayouts/slideLayout714.xml"/><Relationship Id="rId22" Type="http://schemas.openxmlformats.org/officeDocument/2006/relationships/tags" Target="../tags/tag183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7.xml"/><Relationship Id="rId13" Type="http://schemas.openxmlformats.org/officeDocument/2006/relationships/slideLayout" Target="../slideLayouts/slideLayout732.xml"/><Relationship Id="rId18" Type="http://schemas.openxmlformats.org/officeDocument/2006/relationships/slideLayout" Target="../slideLayouts/slideLayout737.xml"/><Relationship Id="rId3" Type="http://schemas.openxmlformats.org/officeDocument/2006/relationships/slideLayout" Target="../slideLayouts/slideLayout722.xml"/><Relationship Id="rId21" Type="http://schemas.openxmlformats.org/officeDocument/2006/relationships/vmlDrawing" Target="../drawings/vmlDrawing169.vml"/><Relationship Id="rId7" Type="http://schemas.openxmlformats.org/officeDocument/2006/relationships/slideLayout" Target="../slideLayouts/slideLayout726.xml"/><Relationship Id="rId12" Type="http://schemas.openxmlformats.org/officeDocument/2006/relationships/slideLayout" Target="../slideLayouts/slideLayout731.xml"/><Relationship Id="rId17" Type="http://schemas.openxmlformats.org/officeDocument/2006/relationships/slideLayout" Target="../slideLayouts/slideLayout736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721.xml"/><Relationship Id="rId16" Type="http://schemas.openxmlformats.org/officeDocument/2006/relationships/slideLayout" Target="../slideLayouts/slideLayout735.xml"/><Relationship Id="rId20" Type="http://schemas.openxmlformats.org/officeDocument/2006/relationships/theme" Target="../theme/theme37.xml"/><Relationship Id="rId1" Type="http://schemas.openxmlformats.org/officeDocument/2006/relationships/slideLayout" Target="../slideLayouts/slideLayout720.xml"/><Relationship Id="rId6" Type="http://schemas.openxmlformats.org/officeDocument/2006/relationships/slideLayout" Target="../slideLayouts/slideLayout725.xml"/><Relationship Id="rId11" Type="http://schemas.openxmlformats.org/officeDocument/2006/relationships/slideLayout" Target="../slideLayouts/slideLayout730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724.xml"/><Relationship Id="rId15" Type="http://schemas.openxmlformats.org/officeDocument/2006/relationships/slideLayout" Target="../slideLayouts/slideLayout734.xml"/><Relationship Id="rId23" Type="http://schemas.openxmlformats.org/officeDocument/2006/relationships/oleObject" Target="../embeddings/oleObject179.bin"/><Relationship Id="rId10" Type="http://schemas.openxmlformats.org/officeDocument/2006/relationships/slideLayout" Target="../slideLayouts/slideLayout729.xml"/><Relationship Id="rId19" Type="http://schemas.openxmlformats.org/officeDocument/2006/relationships/slideLayout" Target="../slideLayouts/slideLayout738.xml"/><Relationship Id="rId4" Type="http://schemas.openxmlformats.org/officeDocument/2006/relationships/slideLayout" Target="../slideLayouts/slideLayout723.xml"/><Relationship Id="rId9" Type="http://schemas.openxmlformats.org/officeDocument/2006/relationships/slideLayout" Target="../slideLayouts/slideLayout728.xml"/><Relationship Id="rId14" Type="http://schemas.openxmlformats.org/officeDocument/2006/relationships/slideLayout" Target="../slideLayouts/slideLayout733.xml"/><Relationship Id="rId22" Type="http://schemas.openxmlformats.org/officeDocument/2006/relationships/tags" Target="../tags/tag184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6.xml"/><Relationship Id="rId13" Type="http://schemas.openxmlformats.org/officeDocument/2006/relationships/slideLayout" Target="../slideLayouts/slideLayout751.xml"/><Relationship Id="rId18" Type="http://schemas.openxmlformats.org/officeDocument/2006/relationships/slideLayout" Target="../slideLayouts/slideLayout756.xml"/><Relationship Id="rId3" Type="http://schemas.openxmlformats.org/officeDocument/2006/relationships/slideLayout" Target="../slideLayouts/slideLayout741.xml"/><Relationship Id="rId21" Type="http://schemas.openxmlformats.org/officeDocument/2006/relationships/vmlDrawing" Target="../drawings/vmlDrawing170.vml"/><Relationship Id="rId7" Type="http://schemas.openxmlformats.org/officeDocument/2006/relationships/slideLayout" Target="../slideLayouts/slideLayout745.xml"/><Relationship Id="rId12" Type="http://schemas.openxmlformats.org/officeDocument/2006/relationships/slideLayout" Target="../slideLayouts/slideLayout750.xml"/><Relationship Id="rId17" Type="http://schemas.openxmlformats.org/officeDocument/2006/relationships/slideLayout" Target="../slideLayouts/slideLayout755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740.xml"/><Relationship Id="rId16" Type="http://schemas.openxmlformats.org/officeDocument/2006/relationships/slideLayout" Target="../slideLayouts/slideLayout754.xml"/><Relationship Id="rId20" Type="http://schemas.openxmlformats.org/officeDocument/2006/relationships/theme" Target="../theme/theme38.xml"/><Relationship Id="rId1" Type="http://schemas.openxmlformats.org/officeDocument/2006/relationships/slideLayout" Target="../slideLayouts/slideLayout739.xml"/><Relationship Id="rId6" Type="http://schemas.openxmlformats.org/officeDocument/2006/relationships/slideLayout" Target="../slideLayouts/slideLayout744.xml"/><Relationship Id="rId11" Type="http://schemas.openxmlformats.org/officeDocument/2006/relationships/slideLayout" Target="../slideLayouts/slideLayout749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743.xml"/><Relationship Id="rId15" Type="http://schemas.openxmlformats.org/officeDocument/2006/relationships/slideLayout" Target="../slideLayouts/slideLayout753.xml"/><Relationship Id="rId23" Type="http://schemas.openxmlformats.org/officeDocument/2006/relationships/oleObject" Target="../embeddings/oleObject180.bin"/><Relationship Id="rId10" Type="http://schemas.openxmlformats.org/officeDocument/2006/relationships/slideLayout" Target="../slideLayouts/slideLayout748.xml"/><Relationship Id="rId19" Type="http://schemas.openxmlformats.org/officeDocument/2006/relationships/slideLayout" Target="../slideLayouts/slideLayout757.xml"/><Relationship Id="rId4" Type="http://schemas.openxmlformats.org/officeDocument/2006/relationships/slideLayout" Target="../slideLayouts/slideLayout742.xml"/><Relationship Id="rId9" Type="http://schemas.openxmlformats.org/officeDocument/2006/relationships/slideLayout" Target="../slideLayouts/slideLayout747.xml"/><Relationship Id="rId14" Type="http://schemas.openxmlformats.org/officeDocument/2006/relationships/slideLayout" Target="../slideLayouts/slideLayout752.xml"/><Relationship Id="rId22" Type="http://schemas.openxmlformats.org/officeDocument/2006/relationships/tags" Target="../tags/tag185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5.xml"/><Relationship Id="rId13" Type="http://schemas.openxmlformats.org/officeDocument/2006/relationships/slideLayout" Target="../slideLayouts/slideLayout770.xml"/><Relationship Id="rId18" Type="http://schemas.openxmlformats.org/officeDocument/2006/relationships/slideLayout" Target="../slideLayouts/slideLayout775.xml"/><Relationship Id="rId3" Type="http://schemas.openxmlformats.org/officeDocument/2006/relationships/slideLayout" Target="../slideLayouts/slideLayout760.xml"/><Relationship Id="rId21" Type="http://schemas.openxmlformats.org/officeDocument/2006/relationships/vmlDrawing" Target="../drawings/vmlDrawing171.vml"/><Relationship Id="rId7" Type="http://schemas.openxmlformats.org/officeDocument/2006/relationships/slideLayout" Target="../slideLayouts/slideLayout764.xml"/><Relationship Id="rId12" Type="http://schemas.openxmlformats.org/officeDocument/2006/relationships/slideLayout" Target="../slideLayouts/slideLayout769.xml"/><Relationship Id="rId17" Type="http://schemas.openxmlformats.org/officeDocument/2006/relationships/slideLayout" Target="../slideLayouts/slideLayout774.xml"/><Relationship Id="rId25" Type="http://schemas.openxmlformats.org/officeDocument/2006/relationships/image" Target="../media/image30.png"/><Relationship Id="rId2" Type="http://schemas.openxmlformats.org/officeDocument/2006/relationships/slideLayout" Target="../slideLayouts/slideLayout759.xml"/><Relationship Id="rId16" Type="http://schemas.openxmlformats.org/officeDocument/2006/relationships/slideLayout" Target="../slideLayouts/slideLayout773.xml"/><Relationship Id="rId20" Type="http://schemas.openxmlformats.org/officeDocument/2006/relationships/theme" Target="../theme/theme39.xml"/><Relationship Id="rId1" Type="http://schemas.openxmlformats.org/officeDocument/2006/relationships/slideLayout" Target="../slideLayouts/slideLayout758.xml"/><Relationship Id="rId6" Type="http://schemas.openxmlformats.org/officeDocument/2006/relationships/slideLayout" Target="../slideLayouts/slideLayout763.xml"/><Relationship Id="rId11" Type="http://schemas.openxmlformats.org/officeDocument/2006/relationships/slideLayout" Target="../slideLayouts/slideLayout768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762.xml"/><Relationship Id="rId15" Type="http://schemas.openxmlformats.org/officeDocument/2006/relationships/slideLayout" Target="../slideLayouts/slideLayout772.xml"/><Relationship Id="rId23" Type="http://schemas.openxmlformats.org/officeDocument/2006/relationships/oleObject" Target="../embeddings/oleObject181.bin"/><Relationship Id="rId10" Type="http://schemas.openxmlformats.org/officeDocument/2006/relationships/slideLayout" Target="../slideLayouts/slideLayout767.xml"/><Relationship Id="rId19" Type="http://schemas.openxmlformats.org/officeDocument/2006/relationships/slideLayout" Target="../slideLayouts/slideLayout776.xml"/><Relationship Id="rId4" Type="http://schemas.openxmlformats.org/officeDocument/2006/relationships/slideLayout" Target="../slideLayouts/slideLayout761.xml"/><Relationship Id="rId9" Type="http://schemas.openxmlformats.org/officeDocument/2006/relationships/slideLayout" Target="../slideLayouts/slideLayout766.xml"/><Relationship Id="rId14" Type="http://schemas.openxmlformats.org/officeDocument/2006/relationships/slideLayout" Target="../slideLayouts/slideLayout771.xml"/><Relationship Id="rId22" Type="http://schemas.openxmlformats.org/officeDocument/2006/relationships/tags" Target="../tags/tag18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40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vmlDrawing" Target="../drawings/vmlDrawing33.vml"/><Relationship Id="rId2" Type="http://schemas.openxmlformats.org/officeDocument/2006/relationships/slideLayout" Target="../slideLayouts/slideLayout45.xml"/><Relationship Id="rId16" Type="http://schemas.openxmlformats.org/officeDocument/2006/relationships/theme" Target="../theme/theme4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oleObject" Target="../embeddings/oleObject39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4.xml"/><Relationship Id="rId13" Type="http://schemas.openxmlformats.org/officeDocument/2006/relationships/slideLayout" Target="../slideLayouts/slideLayout789.xml"/><Relationship Id="rId18" Type="http://schemas.openxmlformats.org/officeDocument/2006/relationships/vmlDrawing" Target="../drawings/vmlDrawing172.vml"/><Relationship Id="rId3" Type="http://schemas.openxmlformats.org/officeDocument/2006/relationships/slideLayout" Target="../slideLayouts/slideLayout779.xml"/><Relationship Id="rId21" Type="http://schemas.openxmlformats.org/officeDocument/2006/relationships/image" Target="../media/image8.emf"/><Relationship Id="rId7" Type="http://schemas.openxmlformats.org/officeDocument/2006/relationships/slideLayout" Target="../slideLayouts/slideLayout783.xml"/><Relationship Id="rId12" Type="http://schemas.openxmlformats.org/officeDocument/2006/relationships/slideLayout" Target="../slideLayouts/slideLayout788.xml"/><Relationship Id="rId17" Type="http://schemas.openxmlformats.org/officeDocument/2006/relationships/theme" Target="../theme/theme40.xml"/><Relationship Id="rId2" Type="http://schemas.openxmlformats.org/officeDocument/2006/relationships/slideLayout" Target="../slideLayouts/slideLayout778.xml"/><Relationship Id="rId16" Type="http://schemas.openxmlformats.org/officeDocument/2006/relationships/slideLayout" Target="../slideLayouts/slideLayout792.xml"/><Relationship Id="rId20" Type="http://schemas.openxmlformats.org/officeDocument/2006/relationships/oleObject" Target="../embeddings/oleObject182.bin"/><Relationship Id="rId1" Type="http://schemas.openxmlformats.org/officeDocument/2006/relationships/slideLayout" Target="../slideLayouts/slideLayout777.xml"/><Relationship Id="rId6" Type="http://schemas.openxmlformats.org/officeDocument/2006/relationships/slideLayout" Target="../slideLayouts/slideLayout782.xml"/><Relationship Id="rId11" Type="http://schemas.openxmlformats.org/officeDocument/2006/relationships/slideLayout" Target="../slideLayouts/slideLayout787.xml"/><Relationship Id="rId5" Type="http://schemas.openxmlformats.org/officeDocument/2006/relationships/slideLayout" Target="../slideLayouts/slideLayout781.xml"/><Relationship Id="rId15" Type="http://schemas.openxmlformats.org/officeDocument/2006/relationships/slideLayout" Target="../slideLayouts/slideLayout791.xml"/><Relationship Id="rId10" Type="http://schemas.openxmlformats.org/officeDocument/2006/relationships/slideLayout" Target="../slideLayouts/slideLayout786.xml"/><Relationship Id="rId19" Type="http://schemas.openxmlformats.org/officeDocument/2006/relationships/tags" Target="../tags/tag187.xml"/><Relationship Id="rId4" Type="http://schemas.openxmlformats.org/officeDocument/2006/relationships/slideLayout" Target="../slideLayouts/slideLayout780.xml"/><Relationship Id="rId9" Type="http://schemas.openxmlformats.org/officeDocument/2006/relationships/slideLayout" Target="../slideLayouts/slideLayout785.xml"/><Relationship Id="rId14" Type="http://schemas.openxmlformats.org/officeDocument/2006/relationships/slideLayout" Target="../slideLayouts/slideLayout79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vmlDrawing" Target="../drawings/vmlDrawing47.vml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5.xml"/><Relationship Id="rId20" Type="http://schemas.openxmlformats.org/officeDocument/2006/relationships/image" Target="../media/image8.emf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19" Type="http://schemas.openxmlformats.org/officeDocument/2006/relationships/oleObject" Target="../embeddings/oleObject55.bin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vmlDrawing" Target="../drawings/vmlDrawing61.v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16.pn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image" Target="../media/image20.emf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oleObject" Target="../embeddings/oleObject71.bin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ags" Target="../tags/tag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26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113.xml"/><Relationship Id="rId34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5" Type="http://schemas.openxmlformats.org/officeDocument/2006/relationships/slideLayout" Target="../slideLayouts/slideLayout117.xml"/><Relationship Id="rId33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112.xml"/><Relationship Id="rId29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116.xml"/><Relationship Id="rId32" Type="http://schemas.openxmlformats.org/officeDocument/2006/relationships/slideLayout" Target="../slideLayouts/slideLayout124.xml"/><Relationship Id="rId37" Type="http://schemas.openxmlformats.org/officeDocument/2006/relationships/image" Target="../media/image22.png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28" Type="http://schemas.openxmlformats.org/officeDocument/2006/relationships/slideLayout" Target="../slideLayouts/slideLayout120.xml"/><Relationship Id="rId36" Type="http://schemas.openxmlformats.org/officeDocument/2006/relationships/image" Target="../media/image21.png"/><Relationship Id="rId10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111.xml"/><Relationship Id="rId31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Relationship Id="rId27" Type="http://schemas.openxmlformats.org/officeDocument/2006/relationships/slideLayout" Target="../slideLayouts/slideLayout119.xml"/><Relationship Id="rId30" Type="http://schemas.openxmlformats.org/officeDocument/2006/relationships/slideLayout" Target="../slideLayouts/slideLayout122.xml"/><Relationship Id="rId35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26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47.xml"/><Relationship Id="rId34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slideLayout" Target="../slideLayouts/slideLayout151.xml"/><Relationship Id="rId33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46.xml"/><Relationship Id="rId29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50.xml"/><Relationship Id="rId32" Type="http://schemas.openxmlformats.org/officeDocument/2006/relationships/slideLayout" Target="../slideLayouts/slideLayout158.xml"/><Relationship Id="rId37" Type="http://schemas.openxmlformats.org/officeDocument/2006/relationships/image" Target="../media/image22.png"/><Relationship Id="rId5" Type="http://schemas.openxmlformats.org/officeDocument/2006/relationships/slideLayout" Target="../slideLayouts/slideLayout131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28" Type="http://schemas.openxmlformats.org/officeDocument/2006/relationships/slideLayout" Target="../slideLayouts/slideLayout154.xml"/><Relationship Id="rId36" Type="http://schemas.openxmlformats.org/officeDocument/2006/relationships/image" Target="../media/image21.png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31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Relationship Id="rId27" Type="http://schemas.openxmlformats.org/officeDocument/2006/relationships/slideLayout" Target="../slideLayouts/slideLayout153.xml"/><Relationship Id="rId30" Type="http://schemas.openxmlformats.org/officeDocument/2006/relationships/slideLayout" Target="../slideLayouts/slideLayout156.xml"/><Relationship Id="rId35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slideLayout" Target="../slideLayouts/slideLayout173.xml"/><Relationship Id="rId18" Type="http://schemas.openxmlformats.org/officeDocument/2006/relationships/slideLayout" Target="../slideLayouts/slideLayout178.xml"/><Relationship Id="rId26" Type="http://schemas.openxmlformats.org/officeDocument/2006/relationships/slideLayout" Target="../slideLayouts/slideLayout186.xml"/><Relationship Id="rId3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2.xml"/><Relationship Id="rId17" Type="http://schemas.openxmlformats.org/officeDocument/2006/relationships/slideLayout" Target="../slideLayouts/slideLayout177.xml"/><Relationship Id="rId25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62.xml"/><Relationship Id="rId16" Type="http://schemas.openxmlformats.org/officeDocument/2006/relationships/slideLayout" Target="../slideLayouts/slideLayout176.xml"/><Relationship Id="rId20" Type="http://schemas.openxmlformats.org/officeDocument/2006/relationships/slideLayout" Target="../slideLayouts/slideLayout180.xml"/><Relationship Id="rId29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71.xml"/><Relationship Id="rId24" Type="http://schemas.openxmlformats.org/officeDocument/2006/relationships/slideLayout" Target="../slideLayouts/slideLayout184.xml"/><Relationship Id="rId32" Type="http://schemas.openxmlformats.org/officeDocument/2006/relationships/image" Target="../media/image22.png"/><Relationship Id="rId5" Type="http://schemas.openxmlformats.org/officeDocument/2006/relationships/slideLayout" Target="../slideLayouts/slideLayout165.xml"/><Relationship Id="rId15" Type="http://schemas.openxmlformats.org/officeDocument/2006/relationships/slideLayout" Target="../slideLayouts/slideLayout175.xml"/><Relationship Id="rId23" Type="http://schemas.openxmlformats.org/officeDocument/2006/relationships/slideLayout" Target="../slideLayouts/slideLayout183.xml"/><Relationship Id="rId28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70.xml"/><Relationship Id="rId19" Type="http://schemas.openxmlformats.org/officeDocument/2006/relationships/slideLayout" Target="../slideLayouts/slideLayout179.xml"/><Relationship Id="rId31" Type="http://schemas.openxmlformats.org/officeDocument/2006/relationships/image" Target="../media/image21.png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Relationship Id="rId14" Type="http://schemas.openxmlformats.org/officeDocument/2006/relationships/slideLayout" Target="../slideLayouts/slideLayout174.xml"/><Relationship Id="rId22" Type="http://schemas.openxmlformats.org/officeDocument/2006/relationships/slideLayout" Target="../slideLayouts/slideLayout182.xml"/><Relationship Id="rId27" Type="http://schemas.openxmlformats.org/officeDocument/2006/relationships/slideLayout" Target="../slideLayouts/slideLayout187.xml"/><Relationship Id="rId30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1">
            <a:extLst>
              <a:ext uri="{FF2B5EF4-FFF2-40B4-BE49-F238E27FC236}"/>
            </a:extLst>
          </p:cNvPr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rgbClr val="FFCC00"/>
              </a:gs>
              <a:gs pos="36000">
                <a:srgbClr val="FFCC00">
                  <a:alpha val="77000"/>
                </a:srgbClr>
              </a:gs>
              <a:gs pos="52000">
                <a:srgbClr val="FFCC00">
                  <a:alpha val="90000"/>
                </a:srgbClr>
              </a:gs>
              <a:gs pos="74000">
                <a:srgbClr val="FFCC00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0" ker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9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8" name="Rectangle 24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80000" y="6627813"/>
            <a:ext cx="1016000" cy="179387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D4051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49" name="Rectangle 25" hidden="1">
            <a:extLst>
              <a:ext uri="{FF2B5EF4-FFF2-40B4-BE49-F238E27FC236}"/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8000" y="6627813"/>
            <a:ext cx="7378700" cy="179387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D4051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2" name="Title Placeholder 13"/>
          <p:cNvSpPr>
            <a:spLocks noGrp="1"/>
          </p:cNvSpPr>
          <p:nvPr>
            <p:ph type="title"/>
          </p:nvPr>
        </p:nvSpPr>
        <p:spPr bwMode="auto">
          <a:xfrm>
            <a:off x="457200" y="222250"/>
            <a:ext cx="7212013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4" name="meta-classification">
            <a:extLst>
              <a:ext uri="{FF2B5EF4-FFF2-40B4-BE49-F238E27FC236}"/>
            </a:extLst>
          </p:cNvPr>
          <p:cNvSpPr txBox="1"/>
          <p:nvPr userDrawn="1"/>
        </p:nvSpPr>
        <p:spPr bwMode="gray">
          <a:xfrm>
            <a:off x="501650" y="0"/>
            <a:ext cx="2270125" cy="222250"/>
          </a:xfrm>
          <a:prstGeom prst="rect">
            <a:avLst/>
          </a:prstGeom>
          <a:noFill/>
        </p:spPr>
        <p:txBody>
          <a:bodyPr wrap="none" lIns="0" tIns="8280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cap="all" dirty="0">
                <a:solidFill>
                  <a:srgbClr val="969696"/>
                </a:solidFill>
                <a:latin typeface="Arial"/>
                <a:cs typeface="Arial"/>
              </a:rPr>
              <a:t>PLEASE </a:t>
            </a:r>
            <a:r>
              <a:rPr lang="en-US" sz="900" kern="0" cap="all">
                <a:solidFill>
                  <a:srgbClr val="969696"/>
                </a:solidFill>
                <a:latin typeface="Arial"/>
                <a:cs typeface="Arial"/>
              </a:rPr>
              <a:t>INSERT </a:t>
            </a:r>
            <a:r>
              <a:rPr lang="en-US" sz="900" kern="0" cap="all" smtClean="0">
                <a:solidFill>
                  <a:srgbClr val="969696"/>
                </a:solidFill>
                <a:latin typeface="Arial"/>
                <a:cs typeface="Arial"/>
              </a:rPr>
              <a:t>CLASSIFICATION </a:t>
            </a:r>
            <a:r>
              <a:rPr lang="en-US" sz="900" kern="0" cap="all" dirty="0">
                <a:solidFill>
                  <a:srgbClr val="969696"/>
                </a:solidFill>
                <a:latin typeface="Arial"/>
                <a:cs typeface="Arial"/>
              </a:rPr>
              <a:t>HERE</a:t>
            </a:r>
          </a:p>
        </p:txBody>
      </p:sp>
      <p:sp>
        <p:nvSpPr>
          <p:cNvPr id="16" name="Footer Placeholder 2">
            <a:extLst>
              <a:ext uri="{FF2B5EF4-FFF2-40B4-BE49-F238E27FC236}"/>
            </a:extLst>
          </p:cNvPr>
          <p:cNvSpPr txBox="1">
            <a:spLocks/>
          </p:cNvSpPr>
          <p:nvPr userDrawn="1"/>
        </p:nvSpPr>
        <p:spPr bwMode="gray"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Frutiger" pitchFamily="34" charset="0"/>
                <a:ea typeface="+mn-ea"/>
                <a:cs typeface="+mn-cs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r>
              <a:rPr lang="cs-CZ" b="0" dirty="0">
                <a:latin typeface="Arial" panose="020B0604020202020204" pitchFamily="34" charset="0"/>
                <a:cs typeface="Arial" panose="020B0604020202020204" pitchFamily="34" charset="0"/>
              </a:rPr>
              <a:t>Country Sales Review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</a:p>
        </p:txBody>
      </p:sp>
      <p:cxnSp>
        <p:nvCxnSpPr>
          <p:cNvPr id="1035" name="Straight Connector 10"/>
          <p:cNvCxnSpPr>
            <a:cxnSpLocks noChangeShapeType="1"/>
          </p:cNvCxnSpPr>
          <p:nvPr userDrawn="1"/>
        </p:nvCxnSpPr>
        <p:spPr bwMode="gray">
          <a:xfrm>
            <a:off x="414338" y="1014413"/>
            <a:ext cx="8315325" cy="0"/>
          </a:xfrm>
          <a:prstGeom prst="line">
            <a:avLst/>
          </a:prstGeom>
          <a:noFill/>
          <a:ln w="12700" algn="ctr">
            <a:solidFill>
              <a:srgbClr val="D4051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6" name="Rechteck 8">
            <a:extLst>
              <a:ext uri="{FF2B5EF4-FFF2-40B4-BE49-F238E27FC236}"/>
            </a:extLst>
          </p:cNvPr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369567D8-AC38-443D-844C-6C09D0D0D2F4}" type="slidenum">
              <a:rPr lang="en-US" altLang="cs-CZ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cs-CZ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12" name="Rectangle 11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92454" r:id="rId1"/>
    <p:sldLayoutId id="2147492372" r:id="rId2"/>
    <p:sldLayoutId id="2147492373" r:id="rId3"/>
    <p:sldLayoutId id="2147492374" r:id="rId4"/>
    <p:sldLayoutId id="2147492375" r:id="rId5"/>
    <p:sldLayoutId id="2147492376" r:id="rId6"/>
    <p:sldLayoutId id="2147492377" r:id="rId7"/>
    <p:sldLayoutId id="2147492378" r:id="rId8"/>
    <p:sldLayoutId id="2147492379" r:id="rId9"/>
    <p:sldLayoutId id="2147492380" r:id="rId10"/>
    <p:sldLayoutId id="2147492455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Frutiger" pitchFamily="34" charset="0"/>
        </a:defRPr>
      </a:lvl6pPr>
      <a:lvl7pPr marL="9144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Frutiger" pitchFamily="34" charset="0"/>
        </a:defRPr>
      </a:lvl7pPr>
      <a:lvl8pPr marL="1371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Frutiger" pitchFamily="34" charset="0"/>
        </a:defRPr>
      </a:lvl8pPr>
      <a:lvl9pPr marL="18288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Frutiger" pitchFamily="34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Clr>
          <a:srgbClr val="000000"/>
        </a:buClr>
        <a:buSzPct val="100000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185738" indent="-185738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SzPct val="100000"/>
        <a:buChar char="•"/>
        <a:defRPr sz="1600">
          <a:solidFill>
            <a:srgbClr val="000000"/>
          </a:solidFill>
          <a:latin typeface="+mn-lt"/>
        </a:defRPr>
      </a:lvl2pPr>
      <a:lvl3pPr marL="403225" indent="-207963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Clr>
          <a:schemeClr val="accent1"/>
        </a:buClr>
        <a:buSzPct val="100000"/>
        <a:buFont typeface="Wingdings 2" panose="05020102010507070707" pitchFamily="18" charset="2"/>
        <a:defRPr sz="1600">
          <a:solidFill>
            <a:srgbClr val="000000"/>
          </a:solidFill>
          <a:latin typeface="+mn-lt"/>
        </a:defRPr>
      </a:lvl3pPr>
      <a:lvl4pPr marL="596900" indent="-180975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Clr>
          <a:schemeClr val="accent1"/>
        </a:buClr>
        <a:buSzPct val="100000"/>
        <a:buFont typeface="Wingdings 2" panose="05020102010507070707" pitchFamily="18" charset="2"/>
        <a:buChar char="®"/>
        <a:defRPr sz="1600">
          <a:solidFill>
            <a:srgbClr val="000000"/>
          </a:solidFill>
          <a:latin typeface="+mn-lt"/>
        </a:defRPr>
      </a:lvl4pPr>
      <a:lvl5pPr marL="790575" indent="-180975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SzPct val="100000"/>
        <a:defRPr sz="1600">
          <a:solidFill>
            <a:srgbClr val="000000"/>
          </a:solidFill>
          <a:latin typeface="+mn-lt"/>
        </a:defRPr>
      </a:lvl5pPr>
      <a:lvl6pPr marL="1247775" indent="-180975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SzPct val="100000"/>
        <a:defRPr sz="1600">
          <a:solidFill>
            <a:srgbClr val="000000"/>
          </a:solidFill>
          <a:latin typeface="+mn-lt"/>
        </a:defRPr>
      </a:lvl6pPr>
      <a:lvl7pPr marL="1704975" indent="-180975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SzPct val="100000"/>
        <a:defRPr sz="1600">
          <a:solidFill>
            <a:srgbClr val="000000"/>
          </a:solidFill>
          <a:latin typeface="+mn-lt"/>
        </a:defRPr>
      </a:lvl7pPr>
      <a:lvl8pPr marL="2162175" indent="-180975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SzPct val="100000"/>
        <a:defRPr sz="1600">
          <a:solidFill>
            <a:srgbClr val="000000"/>
          </a:solidFill>
          <a:latin typeface="+mn-lt"/>
        </a:defRPr>
      </a:lvl8pPr>
      <a:lvl9pPr marL="2619375" indent="-180975" algn="l" rtl="0" eaLnBrk="0" fontAlgn="base" hangingPunct="0">
        <a:lnSpc>
          <a:spcPct val="120000"/>
        </a:lnSpc>
        <a:spcBef>
          <a:spcPct val="0"/>
        </a:spcBef>
        <a:spcAft>
          <a:spcPct val="50000"/>
        </a:spcAft>
        <a:buSzPct val="100000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kt 1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828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Titelplatzhalter 33"/>
          <p:cNvSpPr>
            <a:spLocks noGrp="1"/>
          </p:cNvSpPr>
          <p:nvPr>
            <p:ph type="title"/>
          </p:nvPr>
        </p:nvSpPr>
        <p:spPr bwMode="auto">
          <a:xfrm>
            <a:off x="414338" y="201613"/>
            <a:ext cx="831532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44" name="Textplatzhalter 60"/>
          <p:cNvSpPr>
            <a:spLocks noGrp="1"/>
          </p:cNvSpPr>
          <p:nvPr>
            <p:ph type="body" idx="1"/>
          </p:nvPr>
        </p:nvSpPr>
        <p:spPr bwMode="auto">
          <a:xfrm>
            <a:off x="414338" y="1249363"/>
            <a:ext cx="8315325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grpSp>
        <p:nvGrpSpPr>
          <p:cNvPr id="1024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250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1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3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3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47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4E2230E1-5BEA-4D6E-8849-9D51DC75E50F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  <p:pic>
        <p:nvPicPr>
          <p:cNvPr id="10249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3807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2930" r:id="rId1"/>
    <p:sldLayoutId id="2147492931" r:id="rId2"/>
    <p:sldLayoutId id="2147492932" r:id="rId3"/>
    <p:sldLayoutId id="2147492933" r:id="rId4"/>
    <p:sldLayoutId id="2147492934" r:id="rId5"/>
    <p:sldLayoutId id="2147492935" r:id="rId6"/>
    <p:sldLayoutId id="2147492936" r:id="rId7"/>
    <p:sldLayoutId id="2147492937" r:id="rId8"/>
    <p:sldLayoutId id="2147492938" r:id="rId9"/>
    <p:sldLayoutId id="2147492939" r:id="rId10"/>
    <p:sldLayoutId id="2147492940" r:id="rId11"/>
    <p:sldLayoutId id="2147492941" r:id="rId12"/>
    <p:sldLayoutId id="2147492942" r:id="rId13"/>
    <p:sldLayoutId id="2147492943" r:id="rId14"/>
    <p:sldLayoutId id="2147492944" r:id="rId15"/>
    <p:sldLayoutId id="2147492945" r:id="rId16"/>
    <p:sldLayoutId id="2147492946" r:id="rId17"/>
    <p:sldLayoutId id="2147492947" r:id="rId18"/>
    <p:sldLayoutId id="2147492948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D4051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ts val="500"/>
        </a:spcAft>
        <a:buFont typeface="Arial" panose="020B0604020202020204" pitchFamily="34" charset="0"/>
        <a:defRPr lang="de-DE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0" fontAlgn="base" hangingPunct="0">
        <a:lnSpc>
          <a:spcPct val="110000"/>
        </a:lnSpc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lang="de-DE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rtl="0" eaLnBrk="0" fontAlgn="base" hangingPunct="0">
        <a:lnSpc>
          <a:spcPct val="110000"/>
        </a:lnSpc>
        <a:spcBef>
          <a:spcPct val="0"/>
        </a:spcBef>
        <a:spcAft>
          <a:spcPts val="500"/>
        </a:spcAft>
        <a:buClr>
          <a:schemeClr val="tx1"/>
        </a:buClr>
        <a:buFont typeface="Arial" panose="020B0604020202020204" pitchFamily="34" charset="0"/>
        <a:buChar char="–"/>
        <a:defRPr lang="de-DE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388" algn="l" rtl="0" eaLnBrk="0" fontAlgn="base" hangingPunct="0">
        <a:lnSpc>
          <a:spcPct val="110000"/>
        </a:lnSpc>
        <a:spcBef>
          <a:spcPct val="0"/>
        </a:spcBef>
        <a:spcAft>
          <a:spcPts val="500"/>
        </a:spcAft>
        <a:buClr>
          <a:schemeClr val="tx1"/>
        </a:buClr>
        <a:buFont typeface="Arial" panose="020B0604020202020204" pitchFamily="34" charset="0"/>
        <a:buChar char="–"/>
        <a:defRPr lang="de-DE" sz="1400" kern="1200">
          <a:solidFill>
            <a:schemeClr val="tx1"/>
          </a:solidFill>
          <a:latin typeface="+mn-lt"/>
          <a:ea typeface="+mn-ea"/>
          <a:cs typeface="+mn-cs"/>
        </a:defRPr>
      </a:lvl4pPr>
      <a:lvl5pPr algn="l" rtl="0" eaLnBrk="0" fontAlgn="base" hangingPunct="0">
        <a:spcBef>
          <a:spcPct val="0"/>
        </a:spcBef>
        <a:spcAft>
          <a:spcPts val="1400"/>
        </a:spcAft>
        <a:buClr>
          <a:schemeClr val="tx1"/>
        </a:buClr>
        <a:defRPr lang="en-US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468313"/>
            <a:ext cx="8207375" cy="420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2048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68313" y="1028700"/>
            <a:ext cx="8207375" cy="509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Insert here copy text bold (first level)</a:t>
            </a:r>
          </a:p>
          <a:p>
            <a:pPr lvl="1"/>
            <a:r>
              <a:rPr lang="en-US" altLang="en-US" smtClean="0"/>
              <a:t>Insert here copy text (second level)</a:t>
            </a:r>
          </a:p>
          <a:p>
            <a:pPr lvl="2"/>
            <a:r>
              <a:rPr lang="en-US" altLang="en-US" smtClean="0"/>
              <a:t>Insert here bullet text (third level)</a:t>
            </a:r>
          </a:p>
          <a:p>
            <a:pPr lvl="3"/>
            <a:r>
              <a:rPr lang="en-US" altLang="en-US" smtClean="0"/>
              <a:t>Insert here bullet text (fourth level)</a:t>
            </a:r>
          </a:p>
          <a:p>
            <a:pPr lvl="4"/>
            <a:r>
              <a:rPr lang="en-US" altLang="en-US" smtClean="0"/>
              <a:t>Insert here bullet text (fifth level)</a:t>
            </a:r>
          </a:p>
        </p:txBody>
      </p:sp>
      <p:pic>
        <p:nvPicPr>
          <p:cNvPr id="20484" name="Bild 21" descr="Verlauf_laengs_large_RGB.png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19813"/>
            <a:ext cx="8785225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5" name="Rechteck 8"/>
          <p:cNvSpPr>
            <a:spLocks noChangeArrowheads="1"/>
          </p:cNvSpPr>
          <p:nvPr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4D473199-999C-4584-8FC9-DC8587E4C9E0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486" name="Bild 9" descr="DHL_rgb_BG.png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4803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076" r:id="rId1"/>
    <p:sldLayoutId id="2147493077" r:id="rId2"/>
    <p:sldLayoutId id="2147493078" r:id="rId3"/>
    <p:sldLayoutId id="2147493079" r:id="rId4"/>
    <p:sldLayoutId id="2147493080" r:id="rId5"/>
    <p:sldLayoutId id="2147493081" r:id="rId6"/>
    <p:sldLayoutId id="2147493082" r:id="rId7"/>
    <p:sldLayoutId id="2147493083" r:id="rId8"/>
    <p:sldLayoutId id="2147493084" r:id="rId9"/>
    <p:sldLayoutId id="2147493085" r:id="rId10"/>
    <p:sldLayoutId id="2147493086" r:id="rId11"/>
    <p:sldLayoutId id="2147493087" r:id="rId12"/>
    <p:sldLayoutId id="2147493088" r:id="rId13"/>
    <p:sldLayoutId id="2147493089" r:id="rId14"/>
    <p:sldLayoutId id="2147493090" r:id="rId15"/>
    <p:sldLayoutId id="2147493091" r:id="rId16"/>
    <p:sldLayoutId id="2147493092" r:id="rId17"/>
    <p:sldLayoutId id="2147493093" r:id="rId18"/>
    <p:sldLayoutId id="2147493094" r:id="rId19"/>
    <p:sldLayoutId id="2147493095" r:id="rId20"/>
    <p:sldLayoutId id="2147493096" r:id="rId21"/>
    <p:sldLayoutId id="2147493097" r:id="rId22"/>
    <p:sldLayoutId id="2147493098" r:id="rId23"/>
    <p:sldLayoutId id="2147493099" r:id="rId24"/>
    <p:sldLayoutId id="2147493100" r:id="rId25"/>
    <p:sldLayoutId id="2147493101" r:id="rId26"/>
    <p:sldLayoutId id="2147493102" r:id="rId27"/>
    <p:sldLayoutId id="2147493103" r:id="rId28"/>
    <p:sldLayoutId id="2147493105" r:id="rId2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lnSpc>
          <a:spcPts val="3200"/>
        </a:lnSpc>
        <a:spcBef>
          <a:spcPct val="0"/>
        </a:spcBef>
        <a:spcAft>
          <a:spcPct val="0"/>
        </a:spcAft>
        <a:defRPr sz="2400" b="1" kern="1200" cap="all">
          <a:solidFill>
            <a:srgbClr val="D40511"/>
          </a:solidFill>
          <a:latin typeface="Calibri" panose="020F0502020204030204" pitchFamily="34" charset="0"/>
          <a:ea typeface="+mj-ea"/>
          <a:cs typeface="+mj-cs"/>
        </a:defRPr>
      </a:lvl1pPr>
      <a:lvl2pPr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2pPr>
      <a:lvl3pPr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3pPr>
      <a:lvl4pPr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4pPr>
      <a:lvl5pPr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5pPr>
      <a:lvl6pPr marL="4572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6pPr>
      <a:lvl7pPr marL="9144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7pPr>
      <a:lvl8pPr marL="13716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8pPr>
      <a:lvl9pPr marL="18288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9pPr>
    </p:titleStyle>
    <p:bodyStyle>
      <a:lvl1pPr algn="l" rtl="0" fontAlgn="base">
        <a:spcBef>
          <a:spcPct val="0"/>
        </a:spcBef>
        <a:spcAft>
          <a:spcPts val="500"/>
        </a:spcAft>
        <a:buFont typeface="Arial" panose="020B0604020202020204" pitchFamily="34" charset="0"/>
        <a:defRPr sz="14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algn="l" rtl="0" fontAlgn="base">
        <a:spcBef>
          <a:spcPct val="0"/>
        </a:spcBef>
        <a:spcAft>
          <a:spcPts val="500"/>
        </a:spcAft>
        <a:buFont typeface="Arial" panose="020B0604020202020204" pitchFamily="34" charset="0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79388" indent="-179388" algn="l" rtl="0" fontAlgn="base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358775" indent="-179388" algn="l" rtl="0" fontAlgn="base">
        <a:spcBef>
          <a:spcPct val="0"/>
        </a:spcBef>
        <a:spcAft>
          <a:spcPts val="5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539750" indent="-179388" algn="l" rtl="0" fontAlgn="base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468313"/>
            <a:ext cx="8207375" cy="420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638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68313" y="1028700"/>
            <a:ext cx="8207375" cy="509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Insert here copy text bold (first level)</a:t>
            </a:r>
          </a:p>
          <a:p>
            <a:pPr lvl="1"/>
            <a:r>
              <a:rPr lang="en-US" altLang="en-US" smtClean="0"/>
              <a:t>Insert here copy text (second level)</a:t>
            </a:r>
          </a:p>
          <a:p>
            <a:pPr lvl="2"/>
            <a:r>
              <a:rPr lang="en-US" altLang="en-US" smtClean="0"/>
              <a:t>Insert here bullet text (third level)</a:t>
            </a:r>
          </a:p>
          <a:p>
            <a:pPr lvl="3"/>
            <a:r>
              <a:rPr lang="en-US" altLang="en-US" smtClean="0"/>
              <a:t>Insert here bullet text (fourth level)</a:t>
            </a:r>
          </a:p>
          <a:p>
            <a:pPr lvl="4"/>
            <a:r>
              <a:rPr lang="en-US" altLang="en-US" smtClean="0"/>
              <a:t>Insert here bullet text (fifth level)</a:t>
            </a:r>
          </a:p>
        </p:txBody>
      </p:sp>
      <p:pic>
        <p:nvPicPr>
          <p:cNvPr id="16388" name="Bild 21" descr="Verlauf_laengs_large_RGB.pn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19813"/>
            <a:ext cx="8785225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9" name="Rechteck 8"/>
          <p:cNvSpPr>
            <a:spLocks noChangeArrowheads="1"/>
          </p:cNvSpPr>
          <p:nvPr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995D1B4D-306F-4B62-900C-E8F63CA4708C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390" name="Bild 9" descr="DHL_rgb_BG.pn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8" name="Rectangle 7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6952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156" r:id="rId1"/>
    <p:sldLayoutId id="2147493157" r:id="rId2"/>
    <p:sldLayoutId id="2147493158" r:id="rId3"/>
    <p:sldLayoutId id="2147493159" r:id="rId4"/>
    <p:sldLayoutId id="2147493160" r:id="rId5"/>
    <p:sldLayoutId id="2147493161" r:id="rId6"/>
    <p:sldLayoutId id="2147493162" r:id="rId7"/>
    <p:sldLayoutId id="2147493163" r:id="rId8"/>
    <p:sldLayoutId id="2147493164" r:id="rId9"/>
    <p:sldLayoutId id="2147493165" r:id="rId10"/>
    <p:sldLayoutId id="2147493166" r:id="rId11"/>
    <p:sldLayoutId id="2147493167" r:id="rId12"/>
    <p:sldLayoutId id="2147493168" r:id="rId13"/>
    <p:sldLayoutId id="2147493169" r:id="rId14"/>
    <p:sldLayoutId id="2147493170" r:id="rId15"/>
    <p:sldLayoutId id="2147493171" r:id="rId16"/>
    <p:sldLayoutId id="2147493172" r:id="rId17"/>
    <p:sldLayoutId id="2147493173" r:id="rId18"/>
    <p:sldLayoutId id="2147493174" r:id="rId19"/>
    <p:sldLayoutId id="2147493175" r:id="rId20"/>
    <p:sldLayoutId id="2147493176" r:id="rId21"/>
    <p:sldLayoutId id="2147493177" r:id="rId22"/>
    <p:sldLayoutId id="2147493178" r:id="rId23"/>
    <p:sldLayoutId id="2147493179" r:id="rId24"/>
    <p:sldLayoutId id="2147493180" r:id="rId25"/>
    <p:sldLayoutId id="2147493181" r:id="rId26"/>
    <p:sldLayoutId id="2147493182" r:id="rId27"/>
    <p:sldLayoutId id="2147493183" r:id="rId28"/>
    <p:sldLayoutId id="2147493184" r:id="rId29"/>
    <p:sldLayoutId id="2147493185" r:id="rId30"/>
    <p:sldLayoutId id="2147493186" r:id="rId31"/>
    <p:sldLayoutId id="2147493187" r:id="rId32"/>
    <p:sldLayoutId id="2147493189" r:id="rId33"/>
    <p:sldLayoutId id="2147493190" r:id="rId3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 kern="1200" cap="all">
          <a:solidFill>
            <a:srgbClr val="D4051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5pPr>
      <a:lvl6pPr marL="4572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6pPr>
      <a:lvl7pPr marL="9144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7pPr>
      <a:lvl8pPr marL="13716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8pPr>
      <a:lvl9pPr marL="18288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defRPr sz="14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79388" indent="-179388"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358775" indent="-179388" algn="l" rtl="0" eaLnBrk="0" fontAlgn="base" hangingPunct="0">
        <a:spcBef>
          <a:spcPct val="0"/>
        </a:spcBef>
        <a:spcAft>
          <a:spcPts val="5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539750" indent="-179388"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54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1" y="1249201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09" y="0"/>
            <a:ext cx="9145586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1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90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mtClean="0">
                <a:solidFill>
                  <a:srgbClr val="000000"/>
                </a:solidFill>
              </a:rPr>
              <a:t>US CSR | October 26, 2017 | Plantatio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610A7141-4479-40B7-966D-BCE9989F046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839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228" r:id="rId1"/>
    <p:sldLayoutId id="2147493229" r:id="rId2"/>
    <p:sldLayoutId id="2147493230" r:id="rId3"/>
    <p:sldLayoutId id="2147493231" r:id="rId4"/>
    <p:sldLayoutId id="2147493232" r:id="rId5"/>
    <p:sldLayoutId id="2147493233" r:id="rId6"/>
    <p:sldLayoutId id="2147493234" r:id="rId7"/>
    <p:sldLayoutId id="2147493235" r:id="rId8"/>
    <p:sldLayoutId id="2147493236" r:id="rId9"/>
    <p:sldLayoutId id="2147493237" r:id="rId10"/>
    <p:sldLayoutId id="2147493238" r:id="rId11"/>
    <p:sldLayoutId id="2147493239" r:id="rId12"/>
    <p:sldLayoutId id="2147493240" r:id="rId13"/>
    <p:sldLayoutId id="2147493241" r:id="rId14"/>
    <p:sldLayoutId id="2147493242" r:id="rId15"/>
    <p:sldLayoutId id="2147493243" r:id="rId16"/>
    <p:sldLayoutId id="2147493244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31281" rtl="0" eaLnBrk="1" latinLnBrk="0" hangingPunct="1">
        <a:lnSpc>
          <a:spcPct val="90000"/>
        </a:lnSpc>
        <a:spcBef>
          <a:spcPct val="0"/>
        </a:spcBef>
        <a:buNone/>
        <a:defRPr sz="1818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Tx/>
        <a:buSzTx/>
        <a:buFont typeface="Arial" pitchFamily="34" charset="0"/>
        <a:buNone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63638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Tx/>
        <a:buSzTx/>
        <a:buFont typeface="Arial" pitchFamily="34" charset="0"/>
        <a:buChar char="•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27276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490914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831281" rtl="0" eaLnBrk="1" fontAlgn="auto" latinLnBrk="0" hangingPunct="1">
        <a:lnSpc>
          <a:spcPct val="100000"/>
        </a:lnSpc>
        <a:spcBef>
          <a:spcPts val="0"/>
        </a:spcBef>
        <a:spcAft>
          <a:spcPts val="1273"/>
        </a:spcAft>
        <a:buClr>
          <a:schemeClr val="tx1"/>
        </a:buClr>
        <a:buSzTx/>
        <a:buFontTx/>
        <a:buNone/>
        <a:tabLst/>
        <a:defRPr kumimoji="0" lang="en-US" sz="1636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28602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6pPr>
      <a:lvl7pPr marL="270166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7pPr>
      <a:lvl8pPr marL="311730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8pPr>
      <a:lvl9pPr marL="353294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741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63030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246" r:id="rId1"/>
    <p:sldLayoutId id="2147493247" r:id="rId2"/>
    <p:sldLayoutId id="2147493248" r:id="rId3"/>
    <p:sldLayoutId id="2147493249" r:id="rId4"/>
    <p:sldLayoutId id="2147493250" r:id="rId5"/>
    <p:sldLayoutId id="2147493251" r:id="rId6"/>
    <p:sldLayoutId id="2147493252" r:id="rId7"/>
    <p:sldLayoutId id="2147493253" r:id="rId8"/>
    <p:sldLayoutId id="2147493254" r:id="rId9"/>
    <p:sldLayoutId id="2147493255" r:id="rId10"/>
    <p:sldLayoutId id="2147493256" r:id="rId11"/>
    <p:sldLayoutId id="2147493257" r:id="rId12"/>
    <p:sldLayoutId id="2147493258" r:id="rId13"/>
    <p:sldLayoutId id="2147493259" r:id="rId14"/>
    <p:sldLayoutId id="2147493260" r:id="rId15"/>
    <p:sldLayoutId id="2147493261" r:id="rId16"/>
    <p:sldLayoutId id="2147493262" r:id="rId17"/>
    <p:sldLayoutId id="2147493263" r:id="rId18"/>
    <p:sldLayoutId id="2147493264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765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4818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267" r:id="rId1"/>
    <p:sldLayoutId id="2147493268" r:id="rId2"/>
    <p:sldLayoutId id="2147493269" r:id="rId3"/>
    <p:sldLayoutId id="2147493270" r:id="rId4"/>
    <p:sldLayoutId id="2147493271" r:id="rId5"/>
    <p:sldLayoutId id="2147493272" r:id="rId6"/>
    <p:sldLayoutId id="2147493273" r:id="rId7"/>
    <p:sldLayoutId id="2147493274" r:id="rId8"/>
    <p:sldLayoutId id="2147493275" r:id="rId9"/>
    <p:sldLayoutId id="2147493276" r:id="rId10"/>
    <p:sldLayoutId id="2147493277" r:id="rId11"/>
    <p:sldLayoutId id="2147493278" r:id="rId12"/>
    <p:sldLayoutId id="2147493279" r:id="rId13"/>
    <p:sldLayoutId id="2147493280" r:id="rId14"/>
    <p:sldLayoutId id="2147493281" r:id="rId15"/>
    <p:sldLayoutId id="2147493282" r:id="rId16"/>
    <p:sldLayoutId id="2147493283" r:id="rId17"/>
    <p:sldLayoutId id="2147493284" r:id="rId18"/>
    <p:sldLayoutId id="2147493285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172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9900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25" r:id="rId1"/>
    <p:sldLayoutId id="2147493326" r:id="rId2"/>
    <p:sldLayoutId id="2147493327" r:id="rId3"/>
    <p:sldLayoutId id="2147493328" r:id="rId4"/>
    <p:sldLayoutId id="2147493329" r:id="rId5"/>
    <p:sldLayoutId id="2147493330" r:id="rId6"/>
    <p:sldLayoutId id="2147493331" r:id="rId7"/>
    <p:sldLayoutId id="2147493332" r:id="rId8"/>
    <p:sldLayoutId id="2147493333" r:id="rId9"/>
    <p:sldLayoutId id="2147493334" r:id="rId10"/>
    <p:sldLayoutId id="2147493335" r:id="rId11"/>
    <p:sldLayoutId id="2147493336" r:id="rId12"/>
    <p:sldLayoutId id="2147493337" r:id="rId13"/>
    <p:sldLayoutId id="2147493338" r:id="rId14"/>
    <p:sldLayoutId id="2147493339" r:id="rId15"/>
    <p:sldLayoutId id="2147493340" r:id="rId16"/>
    <p:sldLayoutId id="2147493341" r:id="rId17"/>
    <p:sldLayoutId id="2147493342" r:id="rId18"/>
    <p:sldLayoutId id="2147493343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69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1" y="1249201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09" y="0"/>
            <a:ext cx="9145586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1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90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610A7141-4479-40B7-966D-BCE9989F046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529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81" r:id="rId1"/>
    <p:sldLayoutId id="2147493382" r:id="rId2"/>
    <p:sldLayoutId id="2147493383" r:id="rId3"/>
    <p:sldLayoutId id="2147493384" r:id="rId4"/>
    <p:sldLayoutId id="2147493385" r:id="rId5"/>
    <p:sldLayoutId id="2147493386" r:id="rId6"/>
    <p:sldLayoutId id="2147493387" r:id="rId7"/>
    <p:sldLayoutId id="2147493388" r:id="rId8"/>
    <p:sldLayoutId id="2147493389" r:id="rId9"/>
    <p:sldLayoutId id="2147493390" r:id="rId10"/>
    <p:sldLayoutId id="2147493391" r:id="rId11"/>
    <p:sldLayoutId id="2147493392" r:id="rId12"/>
    <p:sldLayoutId id="2147493393" r:id="rId13"/>
    <p:sldLayoutId id="2147493394" r:id="rId14"/>
    <p:sldLayoutId id="2147493395" r:id="rId15"/>
    <p:sldLayoutId id="2147493396" r:id="rId16"/>
  </p:sldLayoutIdLst>
  <p:hf sldNum="0" hdr="0" dt="0"/>
  <p:txStyles>
    <p:titleStyle>
      <a:lvl1pPr algn="l" defTabSz="831281" rtl="0" eaLnBrk="1" latinLnBrk="0" hangingPunct="1">
        <a:lnSpc>
          <a:spcPct val="90000"/>
        </a:lnSpc>
        <a:spcBef>
          <a:spcPct val="0"/>
        </a:spcBef>
        <a:buNone/>
        <a:defRPr sz="1818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Tx/>
        <a:buSzTx/>
        <a:buFont typeface="Arial" pitchFamily="34" charset="0"/>
        <a:buNone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63638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Tx/>
        <a:buSzTx/>
        <a:buFont typeface="Arial" pitchFamily="34" charset="0"/>
        <a:buChar char="•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27276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490914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831281" rtl="0" eaLnBrk="1" fontAlgn="auto" latinLnBrk="0" hangingPunct="1">
        <a:lnSpc>
          <a:spcPct val="100000"/>
        </a:lnSpc>
        <a:spcBef>
          <a:spcPts val="0"/>
        </a:spcBef>
        <a:spcAft>
          <a:spcPts val="1273"/>
        </a:spcAft>
        <a:buClr>
          <a:schemeClr val="tx1"/>
        </a:buClr>
        <a:buSzTx/>
        <a:buFontTx/>
        <a:buNone/>
        <a:tabLst/>
        <a:defRPr kumimoji="0" lang="en-US" sz="1636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28602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6pPr>
      <a:lvl7pPr marL="270166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7pPr>
      <a:lvl8pPr marL="311730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8pPr>
      <a:lvl9pPr marL="353294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839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716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398" r:id="rId1"/>
    <p:sldLayoutId id="2147493399" r:id="rId2"/>
    <p:sldLayoutId id="2147493400" r:id="rId3"/>
    <p:sldLayoutId id="2147493401" r:id="rId4"/>
    <p:sldLayoutId id="2147493402" r:id="rId5"/>
    <p:sldLayoutId id="2147493403" r:id="rId6"/>
    <p:sldLayoutId id="2147493404" r:id="rId7"/>
    <p:sldLayoutId id="2147493405" r:id="rId8"/>
    <p:sldLayoutId id="2147493406" r:id="rId9"/>
    <p:sldLayoutId id="2147493407" r:id="rId10"/>
    <p:sldLayoutId id="2147493408" r:id="rId11"/>
    <p:sldLayoutId id="2147493409" r:id="rId12"/>
    <p:sldLayoutId id="2147493410" r:id="rId13"/>
    <p:sldLayoutId id="2147493411" r:id="rId14"/>
    <p:sldLayoutId id="2147493412" r:id="rId15"/>
    <p:sldLayoutId id="2147493413" r:id="rId16"/>
    <p:sldLayoutId id="2147493414" r:id="rId17"/>
    <p:sldLayoutId id="2147493415" r:id="rId18"/>
    <p:sldLayoutId id="2147493416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909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5764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18" r:id="rId1"/>
    <p:sldLayoutId id="2147493419" r:id="rId2"/>
    <p:sldLayoutId id="2147493420" r:id="rId3"/>
    <p:sldLayoutId id="2147493421" r:id="rId4"/>
    <p:sldLayoutId id="2147493422" r:id="rId5"/>
    <p:sldLayoutId id="2147493423" r:id="rId6"/>
    <p:sldLayoutId id="2147493424" r:id="rId7"/>
    <p:sldLayoutId id="2147493425" r:id="rId8"/>
    <p:sldLayoutId id="2147493426" r:id="rId9"/>
    <p:sldLayoutId id="2147493427" r:id="rId10"/>
    <p:sldLayoutId id="2147493428" r:id="rId11"/>
    <p:sldLayoutId id="2147493429" r:id="rId12"/>
    <p:sldLayoutId id="2147493430" r:id="rId13"/>
    <p:sldLayoutId id="2147493431" r:id="rId14"/>
    <p:sldLayoutId id="2147493432" r:id="rId15"/>
    <p:sldLayoutId id="2147493433" r:id="rId16"/>
    <p:sldLayoutId id="2147493434" r:id="rId17"/>
    <p:sldLayoutId id="2147493435" r:id="rId18"/>
    <p:sldLayoutId id="2147493436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kt 31" hidden="1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4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Objek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Titelplatzhalter 33"/>
          <p:cNvSpPr>
            <a:spLocks noGrp="1"/>
          </p:cNvSpPr>
          <p:nvPr>
            <p:ph type="title"/>
          </p:nvPr>
        </p:nvSpPr>
        <p:spPr bwMode="auto">
          <a:xfrm>
            <a:off x="414338" y="201613"/>
            <a:ext cx="831532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124" name="Textplatzhalter 60"/>
          <p:cNvSpPr>
            <a:spLocks noGrp="1"/>
          </p:cNvSpPr>
          <p:nvPr>
            <p:ph type="body" idx="1"/>
          </p:nvPr>
        </p:nvSpPr>
        <p:spPr bwMode="auto">
          <a:xfrm>
            <a:off x="414338" y="1249363"/>
            <a:ext cx="8315325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</p:txBody>
      </p:sp>
      <p:grpSp>
        <p:nvGrpSpPr>
          <p:cNvPr id="512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5128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29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0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1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2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3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4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5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6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8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39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40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41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42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43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44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45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kumimoji="0" lang="en-US" sz="90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de-DE"/>
              <a:t>US CSR | October 26, 2017 | Plantation</a:t>
            </a:r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B2F2042-667D-4AE9-8B41-F18356F6ACF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27" name="Rectangle 26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92465" r:id="rId1"/>
    <p:sldLayoutId id="2147492466" r:id="rId2"/>
    <p:sldLayoutId id="2147492467" r:id="rId3"/>
    <p:sldLayoutId id="2147492468" r:id="rId4"/>
    <p:sldLayoutId id="2147492469" r:id="rId5"/>
    <p:sldLayoutId id="2147492470" r:id="rId6"/>
    <p:sldLayoutId id="2147492471" r:id="rId7"/>
    <p:sldLayoutId id="2147492472" r:id="rId8"/>
    <p:sldLayoutId id="2147492473" r:id="rId9"/>
    <p:sldLayoutId id="2147492474" r:id="rId10"/>
    <p:sldLayoutId id="2147492475" r:id="rId11"/>
    <p:sldLayoutId id="2147492476" r:id="rId12"/>
    <p:sldLayoutId id="2147492477" r:id="rId13"/>
    <p:sldLayoutId id="2147492478" r:id="rId14"/>
    <p:sldLayoutId id="2147492479" r:id="rId15"/>
    <p:sldLayoutId id="2147492480" r:id="rId16"/>
    <p:sldLayoutId id="2147492481" r:id="rId1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ern="1200">
          <a:solidFill>
            <a:srgbClr val="D40511"/>
          </a:solidFill>
          <a:latin typeface="+mj-lt"/>
          <a:ea typeface="+mj-ea"/>
          <a:cs typeface="+mj-cs"/>
        </a:defRPr>
      </a:lvl1pPr>
      <a:lvl2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2pPr>
      <a:lvl3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3pPr>
      <a:lvl4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4pPr>
      <a:lvl5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5pPr>
      <a:lvl6pPr marL="4572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6pPr>
      <a:lvl7pPr marL="9144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7pPr>
      <a:lvl8pPr marL="13716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8pPr>
      <a:lvl9pPr marL="18288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9pPr>
    </p:titleStyle>
    <p:bodyStyle>
      <a:lvl1pPr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Font typeface="Arial" panose="020B0604020202020204" pitchFamily="34" charset="0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63513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Font typeface="Arial" panose="020B0604020202020204" pitchFamily="34" charset="0"/>
        <a:buChar char="•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27025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–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–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830263" rtl="0" eaLnBrk="0" fontAlgn="base" hangingPunct="0">
        <a:spcBef>
          <a:spcPct val="0"/>
        </a:spcBef>
        <a:spcAft>
          <a:spcPts val="1275"/>
        </a:spcAft>
        <a:buClr>
          <a:schemeClr val="tx1"/>
        </a:buClr>
        <a:defRPr lang="en-US"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6pPr>
      <a:lvl7pPr marL="270166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7pPr>
      <a:lvl8pPr marL="311730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8pPr>
      <a:lvl9pPr marL="353294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933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2909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39" r:id="rId1"/>
    <p:sldLayoutId id="2147493440" r:id="rId2"/>
    <p:sldLayoutId id="2147493441" r:id="rId3"/>
    <p:sldLayoutId id="2147493442" r:id="rId4"/>
    <p:sldLayoutId id="2147493443" r:id="rId5"/>
    <p:sldLayoutId id="2147493444" r:id="rId6"/>
    <p:sldLayoutId id="2147493445" r:id="rId7"/>
    <p:sldLayoutId id="2147493446" r:id="rId8"/>
    <p:sldLayoutId id="2147493447" r:id="rId9"/>
    <p:sldLayoutId id="2147493448" r:id="rId10"/>
    <p:sldLayoutId id="2147493449" r:id="rId11"/>
    <p:sldLayoutId id="2147493450" r:id="rId12"/>
    <p:sldLayoutId id="2147493451" r:id="rId13"/>
    <p:sldLayoutId id="2147493452" r:id="rId14"/>
    <p:sldLayoutId id="2147493453" r:id="rId15"/>
    <p:sldLayoutId id="2147493454" r:id="rId16"/>
    <p:sldLayoutId id="2147493455" r:id="rId17"/>
    <p:sldLayoutId id="2147493456" r:id="rId18"/>
    <p:sldLayoutId id="2147493457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957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3780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0" r:id="rId1"/>
    <p:sldLayoutId id="2147493461" r:id="rId2"/>
    <p:sldLayoutId id="2147493462" r:id="rId3"/>
    <p:sldLayoutId id="2147493463" r:id="rId4"/>
    <p:sldLayoutId id="2147493464" r:id="rId5"/>
    <p:sldLayoutId id="2147493465" r:id="rId6"/>
    <p:sldLayoutId id="2147493466" r:id="rId7"/>
    <p:sldLayoutId id="2147493467" r:id="rId8"/>
    <p:sldLayoutId id="2147493468" r:id="rId9"/>
    <p:sldLayoutId id="2147493469" r:id="rId10"/>
    <p:sldLayoutId id="2147493470" r:id="rId11"/>
    <p:sldLayoutId id="2147493471" r:id="rId12"/>
    <p:sldLayoutId id="2147493472" r:id="rId13"/>
    <p:sldLayoutId id="2147493473" r:id="rId14"/>
    <p:sldLayoutId id="2147493474" r:id="rId15"/>
    <p:sldLayoutId id="2147493475" r:id="rId16"/>
    <p:sldLayoutId id="2147493476" r:id="rId17"/>
    <p:sldLayoutId id="2147493477" r:id="rId18"/>
    <p:sldLayoutId id="2147493478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1981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0430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1" r:id="rId1"/>
    <p:sldLayoutId id="2147493482" r:id="rId2"/>
    <p:sldLayoutId id="2147493483" r:id="rId3"/>
    <p:sldLayoutId id="2147493484" r:id="rId4"/>
    <p:sldLayoutId id="2147493485" r:id="rId5"/>
    <p:sldLayoutId id="2147493486" r:id="rId6"/>
    <p:sldLayoutId id="2147493487" r:id="rId7"/>
    <p:sldLayoutId id="2147493488" r:id="rId8"/>
    <p:sldLayoutId id="2147493489" r:id="rId9"/>
    <p:sldLayoutId id="2147493490" r:id="rId10"/>
    <p:sldLayoutId id="2147493491" r:id="rId11"/>
    <p:sldLayoutId id="2147493492" r:id="rId12"/>
    <p:sldLayoutId id="2147493493" r:id="rId13"/>
    <p:sldLayoutId id="2147493494" r:id="rId14"/>
    <p:sldLayoutId id="2147493495" r:id="rId15"/>
    <p:sldLayoutId id="2147493496" r:id="rId16"/>
    <p:sldLayoutId id="2147493497" r:id="rId17"/>
    <p:sldLayoutId id="2147493498" r:id="rId18"/>
    <p:sldLayoutId id="2147493499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2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1" y="1249201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09" y="0"/>
            <a:ext cx="9145586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1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90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610A7141-4479-40B7-966D-BCE9989F046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93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02" r:id="rId1"/>
    <p:sldLayoutId id="2147493503" r:id="rId2"/>
    <p:sldLayoutId id="2147493504" r:id="rId3"/>
    <p:sldLayoutId id="2147493505" r:id="rId4"/>
    <p:sldLayoutId id="2147493506" r:id="rId5"/>
    <p:sldLayoutId id="2147493507" r:id="rId6"/>
    <p:sldLayoutId id="2147493508" r:id="rId7"/>
    <p:sldLayoutId id="2147493509" r:id="rId8"/>
    <p:sldLayoutId id="2147493510" r:id="rId9"/>
    <p:sldLayoutId id="2147493511" r:id="rId10"/>
    <p:sldLayoutId id="2147493512" r:id="rId11"/>
    <p:sldLayoutId id="2147493513" r:id="rId12"/>
    <p:sldLayoutId id="2147493514" r:id="rId13"/>
    <p:sldLayoutId id="2147493515" r:id="rId14"/>
    <p:sldLayoutId id="2147493516" r:id="rId15"/>
    <p:sldLayoutId id="2147493517" r:id="rId16"/>
  </p:sldLayoutIdLst>
  <p:hf sldNum="0" hdr="0" dt="0"/>
  <p:txStyles>
    <p:titleStyle>
      <a:lvl1pPr algn="l" defTabSz="831281" rtl="0" eaLnBrk="1" latinLnBrk="0" hangingPunct="1">
        <a:lnSpc>
          <a:spcPct val="90000"/>
        </a:lnSpc>
        <a:spcBef>
          <a:spcPct val="0"/>
        </a:spcBef>
        <a:buNone/>
        <a:defRPr sz="1818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Tx/>
        <a:buSzTx/>
        <a:buFont typeface="Arial" pitchFamily="34" charset="0"/>
        <a:buNone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63638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Tx/>
        <a:buSzTx/>
        <a:buFont typeface="Arial" pitchFamily="34" charset="0"/>
        <a:buChar char="•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27276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490914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831281" rtl="0" eaLnBrk="1" fontAlgn="auto" latinLnBrk="0" hangingPunct="1">
        <a:lnSpc>
          <a:spcPct val="100000"/>
        </a:lnSpc>
        <a:spcBef>
          <a:spcPts val="0"/>
        </a:spcBef>
        <a:spcAft>
          <a:spcPts val="1273"/>
        </a:spcAft>
        <a:buClr>
          <a:schemeClr val="tx1"/>
        </a:buClr>
        <a:buSzTx/>
        <a:buFontTx/>
        <a:buNone/>
        <a:tabLst/>
        <a:defRPr kumimoji="0" lang="en-US" sz="1636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28602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6pPr>
      <a:lvl7pPr marL="270166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7pPr>
      <a:lvl8pPr marL="311730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8pPr>
      <a:lvl9pPr marL="353294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367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95847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20" r:id="rId1"/>
    <p:sldLayoutId id="2147493521" r:id="rId2"/>
    <p:sldLayoutId id="2147493522" r:id="rId3"/>
    <p:sldLayoutId id="2147493523" r:id="rId4"/>
    <p:sldLayoutId id="2147493524" r:id="rId5"/>
    <p:sldLayoutId id="2147493525" r:id="rId6"/>
    <p:sldLayoutId id="2147493526" r:id="rId7"/>
    <p:sldLayoutId id="2147493527" r:id="rId8"/>
    <p:sldLayoutId id="2147493528" r:id="rId9"/>
    <p:sldLayoutId id="2147493529" r:id="rId10"/>
    <p:sldLayoutId id="2147493530" r:id="rId11"/>
    <p:sldLayoutId id="2147493531" r:id="rId12"/>
    <p:sldLayoutId id="2147493532" r:id="rId13"/>
    <p:sldLayoutId id="2147493533" r:id="rId14"/>
    <p:sldLayoutId id="2147493534" r:id="rId15"/>
    <p:sldLayoutId id="2147493535" r:id="rId16"/>
    <p:sldLayoutId id="2147493536" r:id="rId17"/>
    <p:sldLayoutId id="2147493537" r:id="rId18"/>
    <p:sldLayoutId id="2147493538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533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4233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41" r:id="rId1"/>
    <p:sldLayoutId id="2147493542" r:id="rId2"/>
    <p:sldLayoutId id="2147493543" r:id="rId3"/>
    <p:sldLayoutId id="2147493544" r:id="rId4"/>
    <p:sldLayoutId id="2147493545" r:id="rId5"/>
    <p:sldLayoutId id="2147493546" r:id="rId6"/>
    <p:sldLayoutId id="2147493547" r:id="rId7"/>
    <p:sldLayoutId id="2147493548" r:id="rId8"/>
    <p:sldLayoutId id="2147493549" r:id="rId9"/>
    <p:sldLayoutId id="2147493550" r:id="rId10"/>
    <p:sldLayoutId id="2147493551" r:id="rId11"/>
    <p:sldLayoutId id="2147493552" r:id="rId12"/>
    <p:sldLayoutId id="2147493553" r:id="rId13"/>
    <p:sldLayoutId id="2147493554" r:id="rId14"/>
    <p:sldLayoutId id="2147493555" r:id="rId15"/>
    <p:sldLayoutId id="2147493556" r:id="rId16"/>
    <p:sldLayoutId id="2147493557" r:id="rId17"/>
    <p:sldLayoutId id="2147493558" r:id="rId18"/>
    <p:sldLayoutId id="2147493559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7557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36985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62" r:id="rId1"/>
    <p:sldLayoutId id="2147493563" r:id="rId2"/>
    <p:sldLayoutId id="2147493564" r:id="rId3"/>
    <p:sldLayoutId id="2147493565" r:id="rId4"/>
    <p:sldLayoutId id="2147493566" r:id="rId5"/>
    <p:sldLayoutId id="2147493567" r:id="rId6"/>
    <p:sldLayoutId id="2147493568" r:id="rId7"/>
    <p:sldLayoutId id="2147493569" r:id="rId8"/>
    <p:sldLayoutId id="2147493570" r:id="rId9"/>
    <p:sldLayoutId id="2147493571" r:id="rId10"/>
    <p:sldLayoutId id="2147493572" r:id="rId11"/>
    <p:sldLayoutId id="2147493573" r:id="rId12"/>
    <p:sldLayoutId id="2147493574" r:id="rId13"/>
    <p:sldLayoutId id="2147493575" r:id="rId14"/>
    <p:sldLayoutId id="2147493576" r:id="rId15"/>
    <p:sldLayoutId id="2147493577" r:id="rId16"/>
    <p:sldLayoutId id="2147493578" r:id="rId17"/>
    <p:sldLayoutId id="2147493579" r:id="rId18"/>
    <p:sldLayoutId id="2147493580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581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3077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83" r:id="rId1"/>
    <p:sldLayoutId id="2147493584" r:id="rId2"/>
    <p:sldLayoutId id="2147493585" r:id="rId3"/>
    <p:sldLayoutId id="2147493586" r:id="rId4"/>
    <p:sldLayoutId id="2147493587" r:id="rId5"/>
    <p:sldLayoutId id="2147493588" r:id="rId6"/>
    <p:sldLayoutId id="2147493589" r:id="rId7"/>
    <p:sldLayoutId id="2147493590" r:id="rId8"/>
    <p:sldLayoutId id="2147493591" r:id="rId9"/>
    <p:sldLayoutId id="2147493592" r:id="rId10"/>
    <p:sldLayoutId id="2147493593" r:id="rId11"/>
    <p:sldLayoutId id="2147493594" r:id="rId12"/>
    <p:sldLayoutId id="2147493595" r:id="rId13"/>
    <p:sldLayoutId id="2147493596" r:id="rId14"/>
    <p:sldLayoutId id="2147493597" r:id="rId15"/>
    <p:sldLayoutId id="2147493598" r:id="rId16"/>
    <p:sldLayoutId id="2147493599" r:id="rId17"/>
    <p:sldLayoutId id="2147493600" r:id="rId18"/>
    <p:sldLayoutId id="2147493601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605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4531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4" r:id="rId1"/>
    <p:sldLayoutId id="2147493605" r:id="rId2"/>
    <p:sldLayoutId id="2147493606" r:id="rId3"/>
    <p:sldLayoutId id="2147493607" r:id="rId4"/>
    <p:sldLayoutId id="2147493608" r:id="rId5"/>
    <p:sldLayoutId id="2147493609" r:id="rId6"/>
    <p:sldLayoutId id="2147493610" r:id="rId7"/>
    <p:sldLayoutId id="2147493611" r:id="rId8"/>
    <p:sldLayoutId id="2147493612" r:id="rId9"/>
    <p:sldLayoutId id="2147493613" r:id="rId10"/>
    <p:sldLayoutId id="2147493614" r:id="rId11"/>
    <p:sldLayoutId id="2147493615" r:id="rId12"/>
    <p:sldLayoutId id="2147493616" r:id="rId13"/>
    <p:sldLayoutId id="2147493617" r:id="rId14"/>
    <p:sldLayoutId id="2147493618" r:id="rId15"/>
    <p:sldLayoutId id="2147493619" r:id="rId16"/>
    <p:sldLayoutId id="2147493620" r:id="rId17"/>
    <p:sldLayoutId id="2147493621" r:id="rId18"/>
    <p:sldLayoutId id="2147493622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629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| Location </a:t>
            </a:r>
            <a:r>
              <a:rPr lang="en-US" b="0" dirty="0" smtClean="0">
                <a:solidFill>
                  <a:srgbClr val="000000"/>
                </a:solidFill>
                <a:latin typeface="Arial"/>
              </a:rPr>
              <a:t>| xx Month 20xx</a:t>
            </a: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77234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25" r:id="rId1"/>
    <p:sldLayoutId id="2147493626" r:id="rId2"/>
    <p:sldLayoutId id="2147493627" r:id="rId3"/>
    <p:sldLayoutId id="2147493628" r:id="rId4"/>
    <p:sldLayoutId id="2147493629" r:id="rId5"/>
    <p:sldLayoutId id="2147493630" r:id="rId6"/>
    <p:sldLayoutId id="2147493631" r:id="rId7"/>
    <p:sldLayoutId id="2147493632" r:id="rId8"/>
    <p:sldLayoutId id="2147493633" r:id="rId9"/>
    <p:sldLayoutId id="2147493634" r:id="rId10"/>
    <p:sldLayoutId id="2147493635" r:id="rId11"/>
    <p:sldLayoutId id="2147493636" r:id="rId12"/>
    <p:sldLayoutId id="2147493637" r:id="rId13"/>
    <p:sldLayoutId id="2147493638" r:id="rId14"/>
    <p:sldLayoutId id="2147493639" r:id="rId15"/>
    <p:sldLayoutId id="2147493640" r:id="rId16"/>
    <p:sldLayoutId id="2147493641" r:id="rId17"/>
    <p:sldLayoutId id="2147493642" r:id="rId18"/>
    <p:sldLayoutId id="2147493643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kt 3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8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Objek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Titelplatzhalter 33"/>
          <p:cNvSpPr>
            <a:spLocks noGrp="1"/>
          </p:cNvSpPr>
          <p:nvPr>
            <p:ph type="title"/>
          </p:nvPr>
        </p:nvSpPr>
        <p:spPr bwMode="auto">
          <a:xfrm>
            <a:off x="414338" y="201613"/>
            <a:ext cx="831532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6148" name="Textplatzhalter 60"/>
          <p:cNvSpPr>
            <a:spLocks noGrp="1"/>
          </p:cNvSpPr>
          <p:nvPr>
            <p:ph type="body" idx="1"/>
          </p:nvPr>
        </p:nvSpPr>
        <p:spPr bwMode="auto">
          <a:xfrm>
            <a:off x="414338" y="1249363"/>
            <a:ext cx="8315325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</p:txBody>
      </p:sp>
      <p:grpSp>
        <p:nvGrpSpPr>
          <p:cNvPr id="6149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6152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3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4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5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6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7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8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9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0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2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3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4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5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6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7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8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69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kumimoji="0" lang="en-US" sz="90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849BB10-53F6-49CF-9516-5CA6F0570B5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27" name="Rectangle 26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92482" r:id="rId1"/>
    <p:sldLayoutId id="2147492483" r:id="rId2"/>
    <p:sldLayoutId id="2147492484" r:id="rId3"/>
    <p:sldLayoutId id="2147492485" r:id="rId4"/>
    <p:sldLayoutId id="2147492486" r:id="rId5"/>
    <p:sldLayoutId id="2147492487" r:id="rId6"/>
    <p:sldLayoutId id="2147492488" r:id="rId7"/>
    <p:sldLayoutId id="2147492489" r:id="rId8"/>
    <p:sldLayoutId id="2147492490" r:id="rId9"/>
    <p:sldLayoutId id="2147492491" r:id="rId10"/>
    <p:sldLayoutId id="2147492492" r:id="rId11"/>
    <p:sldLayoutId id="2147492493" r:id="rId12"/>
    <p:sldLayoutId id="2147492494" r:id="rId13"/>
    <p:sldLayoutId id="2147492495" r:id="rId14"/>
    <p:sldLayoutId id="2147492496" r:id="rId15"/>
  </p:sldLayoutIdLst>
  <p:hf sldNum="0" hdr="0" dt="0"/>
  <p:txStyles>
    <p:titleStyle>
      <a:lvl1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ern="1200">
          <a:solidFill>
            <a:srgbClr val="D40511"/>
          </a:solidFill>
          <a:latin typeface="+mj-lt"/>
          <a:ea typeface="+mj-ea"/>
          <a:cs typeface="+mj-cs"/>
        </a:defRPr>
      </a:lvl1pPr>
      <a:lvl2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2pPr>
      <a:lvl3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3pPr>
      <a:lvl4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4pPr>
      <a:lvl5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5pPr>
      <a:lvl6pPr marL="4572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6pPr>
      <a:lvl7pPr marL="9144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7pPr>
      <a:lvl8pPr marL="13716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8pPr>
      <a:lvl9pPr marL="18288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9pPr>
    </p:titleStyle>
    <p:bodyStyle>
      <a:lvl1pPr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Font typeface="Arial" panose="020B0604020202020204" pitchFamily="34" charset="0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63513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Font typeface="Arial" panose="020B0604020202020204" pitchFamily="34" charset="0"/>
        <a:buChar char="•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27025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–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–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830263" rtl="0" eaLnBrk="0" fontAlgn="base" hangingPunct="0">
        <a:spcBef>
          <a:spcPct val="0"/>
        </a:spcBef>
        <a:spcAft>
          <a:spcPts val="1275"/>
        </a:spcAft>
        <a:buClr>
          <a:schemeClr val="tx1"/>
        </a:buClr>
        <a:defRPr lang="en-US"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6pPr>
      <a:lvl7pPr marL="270166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7pPr>
      <a:lvl8pPr marL="311730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8pPr>
      <a:lvl9pPr marL="353294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830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4365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46" r:id="rId1"/>
    <p:sldLayoutId id="2147493647" r:id="rId2"/>
    <p:sldLayoutId id="2147493648" r:id="rId3"/>
    <p:sldLayoutId id="2147493649" r:id="rId4"/>
    <p:sldLayoutId id="2147493650" r:id="rId5"/>
    <p:sldLayoutId id="2147493651" r:id="rId6"/>
    <p:sldLayoutId id="2147493652" r:id="rId7"/>
    <p:sldLayoutId id="2147493653" r:id="rId8"/>
    <p:sldLayoutId id="2147493654" r:id="rId9"/>
    <p:sldLayoutId id="2147493655" r:id="rId10"/>
    <p:sldLayoutId id="2147493656" r:id="rId11"/>
    <p:sldLayoutId id="2147493657" r:id="rId12"/>
    <p:sldLayoutId id="2147493658" r:id="rId13"/>
    <p:sldLayoutId id="2147493659" r:id="rId14"/>
    <p:sldLayoutId id="2147493660" r:id="rId15"/>
    <p:sldLayoutId id="2147493661" r:id="rId16"/>
    <p:sldLayoutId id="2147493662" r:id="rId17"/>
    <p:sldLayoutId id="2147493663" r:id="rId18"/>
    <p:sldLayoutId id="2147493664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854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0772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67" r:id="rId1"/>
    <p:sldLayoutId id="2147493668" r:id="rId2"/>
    <p:sldLayoutId id="2147493669" r:id="rId3"/>
    <p:sldLayoutId id="2147493670" r:id="rId4"/>
    <p:sldLayoutId id="2147493671" r:id="rId5"/>
    <p:sldLayoutId id="2147493672" r:id="rId6"/>
    <p:sldLayoutId id="2147493673" r:id="rId7"/>
    <p:sldLayoutId id="2147493674" r:id="rId8"/>
    <p:sldLayoutId id="2147493675" r:id="rId9"/>
    <p:sldLayoutId id="2147493676" r:id="rId10"/>
    <p:sldLayoutId id="2147493677" r:id="rId11"/>
    <p:sldLayoutId id="2147493678" r:id="rId12"/>
    <p:sldLayoutId id="2147493679" r:id="rId13"/>
    <p:sldLayoutId id="2147493680" r:id="rId14"/>
    <p:sldLayoutId id="2147493681" r:id="rId15"/>
    <p:sldLayoutId id="2147493682" r:id="rId16"/>
    <p:sldLayoutId id="2147493683" r:id="rId17"/>
    <p:sldLayoutId id="2147493684" r:id="rId18"/>
    <p:sldLayoutId id="2147493685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441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6557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92" r:id="rId1"/>
    <p:sldLayoutId id="2147493693" r:id="rId2"/>
    <p:sldLayoutId id="2147493694" r:id="rId3"/>
    <p:sldLayoutId id="2147493695" r:id="rId4"/>
    <p:sldLayoutId id="2147493696" r:id="rId5"/>
    <p:sldLayoutId id="2147493697" r:id="rId6"/>
    <p:sldLayoutId id="2147493698" r:id="rId7"/>
    <p:sldLayoutId id="2147493699" r:id="rId8"/>
    <p:sldLayoutId id="2147493700" r:id="rId9"/>
    <p:sldLayoutId id="2147493701" r:id="rId10"/>
    <p:sldLayoutId id="2147493702" r:id="rId11"/>
    <p:sldLayoutId id="2147493703" r:id="rId12"/>
    <p:sldLayoutId id="2147493704" r:id="rId13"/>
    <p:sldLayoutId id="2147493705" r:id="rId14"/>
    <p:sldLayoutId id="2147493706" r:id="rId15"/>
    <p:sldLayoutId id="2147493707" r:id="rId16"/>
    <p:sldLayoutId id="2147493708" r:id="rId17"/>
    <p:sldLayoutId id="2147493709" r:id="rId18"/>
    <p:sldLayoutId id="2147493710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465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2759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13" r:id="rId1"/>
    <p:sldLayoutId id="2147493714" r:id="rId2"/>
    <p:sldLayoutId id="2147493715" r:id="rId3"/>
    <p:sldLayoutId id="2147493716" r:id="rId4"/>
    <p:sldLayoutId id="2147493717" r:id="rId5"/>
    <p:sldLayoutId id="2147493718" r:id="rId6"/>
    <p:sldLayoutId id="2147493719" r:id="rId7"/>
    <p:sldLayoutId id="2147493720" r:id="rId8"/>
    <p:sldLayoutId id="2147493721" r:id="rId9"/>
    <p:sldLayoutId id="2147493722" r:id="rId10"/>
    <p:sldLayoutId id="2147493723" r:id="rId11"/>
    <p:sldLayoutId id="2147493724" r:id="rId12"/>
    <p:sldLayoutId id="2147493725" r:id="rId13"/>
    <p:sldLayoutId id="2147493726" r:id="rId14"/>
    <p:sldLayoutId id="2147493727" r:id="rId15"/>
    <p:sldLayoutId id="2147493728" r:id="rId16"/>
    <p:sldLayoutId id="2147493729" r:id="rId17"/>
    <p:sldLayoutId id="2147493730" r:id="rId18"/>
    <p:sldLayoutId id="2147493731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89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3430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34" r:id="rId1"/>
    <p:sldLayoutId id="2147493735" r:id="rId2"/>
    <p:sldLayoutId id="2147493736" r:id="rId3"/>
    <p:sldLayoutId id="2147493737" r:id="rId4"/>
    <p:sldLayoutId id="2147493738" r:id="rId5"/>
    <p:sldLayoutId id="2147493739" r:id="rId6"/>
    <p:sldLayoutId id="2147493740" r:id="rId7"/>
    <p:sldLayoutId id="2147493741" r:id="rId8"/>
    <p:sldLayoutId id="2147493742" r:id="rId9"/>
    <p:sldLayoutId id="2147493743" r:id="rId10"/>
    <p:sldLayoutId id="2147493744" r:id="rId11"/>
    <p:sldLayoutId id="2147493745" r:id="rId12"/>
    <p:sldLayoutId id="2147493746" r:id="rId13"/>
    <p:sldLayoutId id="2147493747" r:id="rId14"/>
    <p:sldLayoutId id="2147493748" r:id="rId15"/>
    <p:sldLayoutId id="2147493749" r:id="rId16"/>
    <p:sldLayoutId id="2147493750" r:id="rId17"/>
    <p:sldLayoutId id="2147493751" r:id="rId18"/>
    <p:sldLayoutId id="2147493752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3609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97627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55" r:id="rId1"/>
    <p:sldLayoutId id="2147493756" r:id="rId2"/>
    <p:sldLayoutId id="2147493757" r:id="rId3"/>
    <p:sldLayoutId id="2147493758" r:id="rId4"/>
    <p:sldLayoutId id="2147493759" r:id="rId5"/>
    <p:sldLayoutId id="2147493760" r:id="rId6"/>
    <p:sldLayoutId id="2147493761" r:id="rId7"/>
    <p:sldLayoutId id="2147493762" r:id="rId8"/>
    <p:sldLayoutId id="2147493763" r:id="rId9"/>
    <p:sldLayoutId id="2147493764" r:id="rId10"/>
    <p:sldLayoutId id="2147493765" r:id="rId11"/>
    <p:sldLayoutId id="2147493766" r:id="rId12"/>
    <p:sldLayoutId id="2147493767" r:id="rId13"/>
    <p:sldLayoutId id="2147493768" r:id="rId14"/>
    <p:sldLayoutId id="2147493769" r:id="rId15"/>
    <p:sldLayoutId id="2147493770" r:id="rId16"/>
    <p:sldLayoutId id="2147493771" r:id="rId17"/>
    <p:sldLayoutId id="2147493772" r:id="rId18"/>
    <p:sldLayoutId id="2147493773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33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304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76" r:id="rId1"/>
    <p:sldLayoutId id="2147493777" r:id="rId2"/>
    <p:sldLayoutId id="2147493778" r:id="rId3"/>
    <p:sldLayoutId id="2147493779" r:id="rId4"/>
    <p:sldLayoutId id="2147493780" r:id="rId5"/>
    <p:sldLayoutId id="2147493781" r:id="rId6"/>
    <p:sldLayoutId id="2147493782" r:id="rId7"/>
    <p:sldLayoutId id="2147493783" r:id="rId8"/>
    <p:sldLayoutId id="2147493784" r:id="rId9"/>
    <p:sldLayoutId id="2147493785" r:id="rId10"/>
    <p:sldLayoutId id="2147493786" r:id="rId11"/>
    <p:sldLayoutId id="2147493787" r:id="rId12"/>
    <p:sldLayoutId id="2147493788" r:id="rId13"/>
    <p:sldLayoutId id="2147493789" r:id="rId14"/>
    <p:sldLayoutId id="2147493790" r:id="rId15"/>
    <p:sldLayoutId id="2147493791" r:id="rId16"/>
    <p:sldLayoutId id="2147493792" r:id="rId17"/>
    <p:sldLayoutId id="2147493793" r:id="rId18"/>
    <p:sldLayoutId id="2147493794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729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69591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797" r:id="rId1"/>
    <p:sldLayoutId id="2147493798" r:id="rId2"/>
    <p:sldLayoutId id="2147493799" r:id="rId3"/>
    <p:sldLayoutId id="2147493800" r:id="rId4"/>
    <p:sldLayoutId id="2147493801" r:id="rId5"/>
    <p:sldLayoutId id="2147493802" r:id="rId6"/>
    <p:sldLayoutId id="2147493803" r:id="rId7"/>
    <p:sldLayoutId id="2147493804" r:id="rId8"/>
    <p:sldLayoutId id="2147493805" r:id="rId9"/>
    <p:sldLayoutId id="2147493806" r:id="rId10"/>
    <p:sldLayoutId id="2147493807" r:id="rId11"/>
    <p:sldLayoutId id="2147493808" r:id="rId12"/>
    <p:sldLayoutId id="2147493809" r:id="rId13"/>
    <p:sldLayoutId id="2147493810" r:id="rId14"/>
    <p:sldLayoutId id="2147493811" r:id="rId15"/>
    <p:sldLayoutId id="2147493812" r:id="rId16"/>
    <p:sldLayoutId id="2147493813" r:id="rId17"/>
    <p:sldLayoutId id="2147493814" r:id="rId18"/>
    <p:sldLayoutId id="2147493815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753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5008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818" r:id="rId1"/>
    <p:sldLayoutId id="2147493819" r:id="rId2"/>
    <p:sldLayoutId id="2147493820" r:id="rId3"/>
    <p:sldLayoutId id="2147493821" r:id="rId4"/>
    <p:sldLayoutId id="2147493822" r:id="rId5"/>
    <p:sldLayoutId id="2147493823" r:id="rId6"/>
    <p:sldLayoutId id="2147493824" r:id="rId7"/>
    <p:sldLayoutId id="2147493825" r:id="rId8"/>
    <p:sldLayoutId id="2147493826" r:id="rId9"/>
    <p:sldLayoutId id="2147493827" r:id="rId10"/>
    <p:sldLayoutId id="2147493828" r:id="rId11"/>
    <p:sldLayoutId id="2147493829" r:id="rId12"/>
    <p:sldLayoutId id="2147493830" r:id="rId13"/>
    <p:sldLayoutId id="2147493831" r:id="rId14"/>
    <p:sldLayoutId id="2147493832" r:id="rId15"/>
    <p:sldLayoutId id="2147493833" r:id="rId16"/>
    <p:sldLayoutId id="2147493834" r:id="rId17"/>
    <p:sldLayoutId id="2147493835" r:id="rId18"/>
    <p:sldLayoutId id="2147493836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777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0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0" y="1249198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12" y="0"/>
            <a:ext cx="9145587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2326"/>
            <a:ext cx="8784000" cy="72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defTabSz="995363"/>
            <a:endParaRPr lang="en-US" sz="1400" b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Rechteck 8"/>
          <p:cNvSpPr/>
          <p:nvPr userDrawn="1"/>
        </p:nvSpPr>
        <p:spPr bwMode="gray"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algn="r" defTabSz="995363"/>
            <a:fld id="{2E45E626-985F-4F96-B1C4-178AC390C14C}" type="slidenum">
              <a:rPr lang="en-US" sz="1000" b="0" smtClean="0">
                <a:solidFill>
                  <a:srgbClr val="000000"/>
                </a:solidFill>
                <a:latin typeface="Arial"/>
              </a:rPr>
              <a:pPr algn="r" defTabSz="995363"/>
              <a:t>‹#›</a:t>
            </a:fld>
            <a:endParaRPr lang="en-US" sz="10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2000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b="0" dirty="0" smtClean="0">
                <a:solidFill>
                  <a:srgbClr val="000000"/>
                </a:solidFill>
                <a:latin typeface="Arial"/>
              </a:rPr>
              <a:t>Presentation title | Location | xx </a:t>
            </a:r>
            <a:r>
              <a:rPr lang="en-US" b="0" smtClean="0">
                <a:solidFill>
                  <a:srgbClr val="000000"/>
                </a:solidFill>
                <a:latin typeface="Arial"/>
              </a:rPr>
              <a:t>Month 20xx</a:t>
            </a:r>
            <a:endParaRPr lang="en-US" b="0" dirty="0" smtClean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0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/>
          <a:stretch>
            <a:fillRect/>
          </a:stretch>
        </p:blipFill>
        <p:spPr bwMode="auto">
          <a:xfrm>
            <a:off x="414000" y="6278377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2600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839" r:id="rId1"/>
    <p:sldLayoutId id="2147493840" r:id="rId2"/>
    <p:sldLayoutId id="2147493841" r:id="rId3"/>
    <p:sldLayoutId id="2147493842" r:id="rId4"/>
    <p:sldLayoutId id="2147493843" r:id="rId5"/>
    <p:sldLayoutId id="2147493844" r:id="rId6"/>
    <p:sldLayoutId id="2147493845" r:id="rId7"/>
    <p:sldLayoutId id="2147493846" r:id="rId8"/>
    <p:sldLayoutId id="2147493847" r:id="rId9"/>
    <p:sldLayoutId id="2147493848" r:id="rId10"/>
    <p:sldLayoutId id="2147493849" r:id="rId11"/>
    <p:sldLayoutId id="2147493850" r:id="rId12"/>
    <p:sldLayoutId id="2147493851" r:id="rId13"/>
    <p:sldLayoutId id="2147493852" r:id="rId14"/>
    <p:sldLayoutId id="2147493853" r:id="rId15"/>
    <p:sldLayoutId id="2147493854" r:id="rId16"/>
    <p:sldLayoutId id="2147493855" r:id="rId17"/>
    <p:sldLayoutId id="2147493856" r:id="rId18"/>
    <p:sldLayoutId id="2147493857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None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6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54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4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1400"/>
        </a:spcAft>
        <a:buClr>
          <a:schemeClr val="tx1"/>
        </a:buClr>
        <a:buSzTx/>
        <a:buFontTx/>
        <a:buNone/>
        <a:tabLst/>
        <a:defRPr kumimoji="0" lang="en-US" sz="18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kt 3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2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Objek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Titelplatzhalter 33"/>
          <p:cNvSpPr>
            <a:spLocks noGrp="1"/>
          </p:cNvSpPr>
          <p:nvPr>
            <p:ph type="title"/>
          </p:nvPr>
        </p:nvSpPr>
        <p:spPr bwMode="auto">
          <a:xfrm>
            <a:off x="414338" y="201613"/>
            <a:ext cx="831532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7172" name="Textplatzhalter 60"/>
          <p:cNvSpPr>
            <a:spLocks noGrp="1"/>
          </p:cNvSpPr>
          <p:nvPr>
            <p:ph type="body" idx="1"/>
          </p:nvPr>
        </p:nvSpPr>
        <p:spPr bwMode="auto">
          <a:xfrm>
            <a:off x="414338" y="1249363"/>
            <a:ext cx="8315325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</p:txBody>
      </p:sp>
      <p:grpSp>
        <p:nvGrpSpPr>
          <p:cNvPr id="7173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7176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77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78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79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0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1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2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3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4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6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7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8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89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90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91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92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193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kumimoji="0" lang="en-US" sz="90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20A6D2D-FDBF-46E9-BD8F-6D36BB8313B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27" name="Rectangle 26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92497" r:id="rId1"/>
    <p:sldLayoutId id="2147492498" r:id="rId2"/>
    <p:sldLayoutId id="2147492499" r:id="rId3"/>
    <p:sldLayoutId id="2147492500" r:id="rId4"/>
    <p:sldLayoutId id="2147492501" r:id="rId5"/>
    <p:sldLayoutId id="2147492502" r:id="rId6"/>
    <p:sldLayoutId id="2147492503" r:id="rId7"/>
    <p:sldLayoutId id="2147492504" r:id="rId8"/>
    <p:sldLayoutId id="2147492505" r:id="rId9"/>
    <p:sldLayoutId id="2147492506" r:id="rId10"/>
    <p:sldLayoutId id="2147492507" r:id="rId11"/>
    <p:sldLayoutId id="2147492508" r:id="rId12"/>
    <p:sldLayoutId id="2147492509" r:id="rId13"/>
    <p:sldLayoutId id="2147492510" r:id="rId14"/>
    <p:sldLayoutId id="2147492511" r:id="rId15"/>
  </p:sldLayoutIdLst>
  <p:hf sldNum="0" hdr="0" dt="0"/>
  <p:txStyles>
    <p:titleStyle>
      <a:lvl1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ern="1200">
          <a:solidFill>
            <a:srgbClr val="D40511"/>
          </a:solidFill>
          <a:latin typeface="+mj-lt"/>
          <a:ea typeface="+mj-ea"/>
          <a:cs typeface="+mj-cs"/>
        </a:defRPr>
      </a:lvl1pPr>
      <a:lvl2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2pPr>
      <a:lvl3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3pPr>
      <a:lvl4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4pPr>
      <a:lvl5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5pPr>
      <a:lvl6pPr marL="4572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6pPr>
      <a:lvl7pPr marL="9144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7pPr>
      <a:lvl8pPr marL="13716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8pPr>
      <a:lvl9pPr marL="18288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9pPr>
    </p:titleStyle>
    <p:bodyStyle>
      <a:lvl1pPr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Font typeface="Arial" panose="020B0604020202020204" pitchFamily="34" charset="0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63513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Font typeface="Arial" panose="020B0604020202020204" pitchFamily="34" charset="0"/>
        <a:buChar char="•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27025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–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–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830263" rtl="0" eaLnBrk="0" fontAlgn="base" hangingPunct="0">
        <a:spcBef>
          <a:spcPct val="0"/>
        </a:spcBef>
        <a:spcAft>
          <a:spcPts val="1275"/>
        </a:spcAft>
        <a:buClr>
          <a:schemeClr val="tx1"/>
        </a:buClr>
        <a:defRPr lang="en-US"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6pPr>
      <a:lvl7pPr marL="270166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7pPr>
      <a:lvl8pPr marL="311730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8pPr>
      <a:lvl9pPr marL="353294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589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29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414001" y="201600"/>
            <a:ext cx="8316000" cy="7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414001" y="1249201"/>
            <a:ext cx="8316000" cy="4755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11109" y="0"/>
            <a:ext cx="9145586" cy="6858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2001" y="6225003"/>
            <a:ext cx="6228000" cy="252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90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70000" y="6225003"/>
            <a:ext cx="362862" cy="252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610A7141-4479-40B7-966D-BCE9989F046D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953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922" r:id="rId1"/>
    <p:sldLayoutId id="2147493923" r:id="rId2"/>
    <p:sldLayoutId id="2147493924" r:id="rId3"/>
    <p:sldLayoutId id="2147493925" r:id="rId4"/>
    <p:sldLayoutId id="2147493926" r:id="rId5"/>
    <p:sldLayoutId id="2147493927" r:id="rId6"/>
    <p:sldLayoutId id="2147493928" r:id="rId7"/>
    <p:sldLayoutId id="2147493929" r:id="rId8"/>
    <p:sldLayoutId id="2147493930" r:id="rId9"/>
    <p:sldLayoutId id="2147493931" r:id="rId10"/>
    <p:sldLayoutId id="2147493932" r:id="rId11"/>
    <p:sldLayoutId id="2147493933" r:id="rId12"/>
    <p:sldLayoutId id="2147493934" r:id="rId13"/>
    <p:sldLayoutId id="2147493935" r:id="rId14"/>
    <p:sldLayoutId id="2147493936" r:id="rId15"/>
    <p:sldLayoutId id="2147493937" r:id="rId16"/>
  </p:sldLayoutIdLst>
  <p:hf sldNum="0" hdr="0" dt="0"/>
  <p:txStyles>
    <p:titleStyle>
      <a:lvl1pPr algn="l" defTabSz="831281" rtl="0" eaLnBrk="1" latinLnBrk="0" hangingPunct="1">
        <a:lnSpc>
          <a:spcPct val="90000"/>
        </a:lnSpc>
        <a:spcBef>
          <a:spcPct val="0"/>
        </a:spcBef>
        <a:buNone/>
        <a:defRPr sz="1818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Tx/>
        <a:buSzTx/>
        <a:buFont typeface="Arial" pitchFamily="34" charset="0"/>
        <a:buNone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163638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Tx/>
        <a:buSzTx/>
        <a:buFont typeface="Arial" pitchFamily="34" charset="0"/>
        <a:buChar char="•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327276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490914" marR="0" indent="-163638" algn="l" defTabSz="831281" rtl="0" eaLnBrk="1" fontAlgn="auto" latinLnBrk="0" hangingPunct="1">
        <a:lnSpc>
          <a:spcPct val="110000"/>
        </a:lnSpc>
        <a:spcBef>
          <a:spcPts val="0"/>
        </a:spcBef>
        <a:spcAft>
          <a:spcPts val="455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1273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831281" rtl="0" eaLnBrk="1" fontAlgn="auto" latinLnBrk="0" hangingPunct="1">
        <a:lnSpc>
          <a:spcPct val="100000"/>
        </a:lnSpc>
        <a:spcBef>
          <a:spcPts val="0"/>
        </a:spcBef>
        <a:spcAft>
          <a:spcPts val="1273"/>
        </a:spcAft>
        <a:buClr>
          <a:schemeClr val="tx1"/>
        </a:buClr>
        <a:buSzTx/>
        <a:buFontTx/>
        <a:buNone/>
        <a:tabLst/>
        <a:defRPr kumimoji="0" lang="en-US" sz="1636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28602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6pPr>
      <a:lvl7pPr marL="270166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7pPr>
      <a:lvl8pPr marL="311730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8pPr>
      <a:lvl9pPr marL="353294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kt 3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6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Objek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Titelplatzhalter 33"/>
          <p:cNvSpPr>
            <a:spLocks noGrp="1"/>
          </p:cNvSpPr>
          <p:nvPr>
            <p:ph type="title"/>
          </p:nvPr>
        </p:nvSpPr>
        <p:spPr bwMode="auto">
          <a:xfrm>
            <a:off x="414338" y="201613"/>
            <a:ext cx="831532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8196" name="Textplatzhalter 60"/>
          <p:cNvSpPr>
            <a:spLocks noGrp="1"/>
          </p:cNvSpPr>
          <p:nvPr>
            <p:ph type="body" idx="1"/>
          </p:nvPr>
        </p:nvSpPr>
        <p:spPr bwMode="auto">
          <a:xfrm>
            <a:off x="414338" y="1249363"/>
            <a:ext cx="8315325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</p:txBody>
      </p:sp>
      <p:grpSp>
        <p:nvGrpSpPr>
          <p:cNvPr id="8197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8200" name="Straight Connector 56" hidden="1"/>
            <p:cNvCxnSpPr>
              <a:cxnSpLocks noChangeShapeType="1"/>
            </p:cNvCxnSpPr>
            <p:nvPr/>
          </p:nvCxnSpPr>
          <p:spPr bwMode="gray">
            <a:xfrm>
              <a:off x="17860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1" name="Straight Connector 53" hidden="1"/>
            <p:cNvCxnSpPr>
              <a:cxnSpLocks noChangeShapeType="1"/>
            </p:cNvCxnSpPr>
            <p:nvPr/>
          </p:nvCxnSpPr>
          <p:spPr bwMode="gray">
            <a:xfrm>
              <a:off x="89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021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3" name="Straight Connector 44" hidden="1"/>
            <p:cNvCxnSpPr>
              <a:cxnSpLocks noChangeShapeType="1"/>
            </p:cNvCxnSpPr>
            <p:nvPr/>
          </p:nvCxnSpPr>
          <p:spPr bwMode="gray">
            <a:xfrm>
              <a:off x="4464000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3057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4763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4335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496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0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3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0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1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kumimoji="0" lang="en-US" sz="90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8369300" y="6224588"/>
            <a:ext cx="363538" cy="2524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9048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909" b="0" i="0" u="none" strike="noStrike" kern="1200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2788E2F-AE0E-40F0-A10D-0249350D52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27" name="Rectangle 26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92512" r:id="rId1"/>
    <p:sldLayoutId id="2147492513" r:id="rId2"/>
    <p:sldLayoutId id="2147492514" r:id="rId3"/>
    <p:sldLayoutId id="2147492515" r:id="rId4"/>
    <p:sldLayoutId id="2147492516" r:id="rId5"/>
    <p:sldLayoutId id="2147492517" r:id="rId6"/>
    <p:sldLayoutId id="2147492518" r:id="rId7"/>
    <p:sldLayoutId id="2147492519" r:id="rId8"/>
    <p:sldLayoutId id="2147492520" r:id="rId9"/>
    <p:sldLayoutId id="2147492521" r:id="rId10"/>
    <p:sldLayoutId id="2147492522" r:id="rId11"/>
    <p:sldLayoutId id="2147492523" r:id="rId12"/>
    <p:sldLayoutId id="2147492524" r:id="rId13"/>
    <p:sldLayoutId id="2147492525" r:id="rId14"/>
    <p:sldLayoutId id="2147492526" r:id="rId15"/>
  </p:sldLayoutIdLst>
  <p:hf sldNum="0" hdr="0" dt="0"/>
  <p:txStyles>
    <p:titleStyle>
      <a:lvl1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ern="1200">
          <a:solidFill>
            <a:srgbClr val="D40511"/>
          </a:solidFill>
          <a:latin typeface="+mj-lt"/>
          <a:ea typeface="+mj-ea"/>
          <a:cs typeface="+mj-cs"/>
        </a:defRPr>
      </a:lvl1pPr>
      <a:lvl2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2pPr>
      <a:lvl3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3pPr>
      <a:lvl4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4pPr>
      <a:lvl5pPr algn="l" defTabSz="830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5pPr>
      <a:lvl6pPr marL="4572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6pPr>
      <a:lvl7pPr marL="9144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7pPr>
      <a:lvl8pPr marL="13716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8pPr>
      <a:lvl9pPr marL="1828800" algn="l" defTabSz="830263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rgbClr val="D40511"/>
          </a:solidFill>
          <a:latin typeface="Arial" panose="020B0604020202020204" pitchFamily="34" charset="0"/>
        </a:defRPr>
      </a:lvl9pPr>
    </p:titleStyle>
    <p:bodyStyle>
      <a:lvl1pPr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Font typeface="Arial" panose="020B0604020202020204" pitchFamily="34" charset="0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63513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Font typeface="Arial" panose="020B0604020202020204" pitchFamily="34" charset="0"/>
        <a:buChar char="•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27025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–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90538" indent="-163513" algn="l" defTabSz="830263" rtl="0" eaLnBrk="0" fontAlgn="base" hangingPunct="0">
        <a:lnSpc>
          <a:spcPct val="110000"/>
        </a:lnSpc>
        <a:spcBef>
          <a:spcPct val="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–"/>
        <a:defRPr lang="de-DE" sz="12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830263" rtl="0" eaLnBrk="0" fontAlgn="base" hangingPunct="0">
        <a:spcBef>
          <a:spcPct val="0"/>
        </a:spcBef>
        <a:spcAft>
          <a:spcPts val="1275"/>
        </a:spcAft>
        <a:buClr>
          <a:schemeClr val="tx1"/>
        </a:buClr>
        <a:defRPr lang="en-US"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6pPr>
      <a:lvl7pPr marL="2701663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7pPr>
      <a:lvl8pPr marL="311730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8pPr>
      <a:lvl9pPr marL="3532944" indent="-207820" algn="l" defTabSz="831281" rtl="0" eaLnBrk="1" latinLnBrk="0" hangingPunct="1">
        <a:spcBef>
          <a:spcPct val="20000"/>
        </a:spcBef>
        <a:buFont typeface="Arial" pitchFamily="34" charset="0"/>
        <a:buChar char="•"/>
        <a:defRPr sz="18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564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31281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4692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62562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7820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93843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90948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325124" algn="l" defTabSz="831281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kt 1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6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Titelplatzhalter 33"/>
          <p:cNvSpPr>
            <a:spLocks noGrp="1"/>
          </p:cNvSpPr>
          <p:nvPr>
            <p:ph type="title"/>
          </p:nvPr>
        </p:nvSpPr>
        <p:spPr bwMode="auto">
          <a:xfrm>
            <a:off x="414338" y="201613"/>
            <a:ext cx="831532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44" name="Textplatzhalter 60"/>
          <p:cNvSpPr>
            <a:spLocks noGrp="1"/>
          </p:cNvSpPr>
          <p:nvPr>
            <p:ph type="body" idx="1"/>
          </p:nvPr>
        </p:nvSpPr>
        <p:spPr bwMode="auto">
          <a:xfrm>
            <a:off x="414338" y="1249363"/>
            <a:ext cx="8315325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grpSp>
        <p:nvGrpSpPr>
          <p:cNvPr id="10245" name="dpic_guideLines" hidden="1"/>
          <p:cNvGrpSpPr>
            <a:grpSpLocks/>
          </p:cNvGrpSpPr>
          <p:nvPr/>
        </p:nvGrpSpPr>
        <p:grpSpPr bwMode="auto">
          <a:xfrm>
            <a:off x="-11113" y="0"/>
            <a:ext cx="9145588" cy="6858000"/>
            <a:chOff x="-1587" y="0"/>
            <a:chExt cx="9145587" cy="6858000"/>
          </a:xfrm>
        </p:grpSpPr>
        <p:cxnSp>
          <p:nvCxnSpPr>
            <p:cNvPr id="10250" name="Straight Connector 56" hidden="1"/>
            <p:cNvCxnSpPr>
              <a:cxnSpLocks noChangeShapeType="1"/>
            </p:cNvCxnSpPr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1" name="Straight Connector 53" hidden="1"/>
            <p:cNvCxnSpPr>
              <a:cxnSpLocks noChangeShapeType="1"/>
            </p:cNvCxnSpPr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2" name="Straight Connector 43" hidden="1"/>
            <p:cNvCxnSpPr>
              <a:cxnSpLocks noChangeShapeType="1"/>
            </p:cNvCxnSpPr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3" name="Straight Connector 44" hidden="1"/>
            <p:cNvCxnSpPr>
              <a:cxnSpLocks noChangeShapeType="1"/>
            </p:cNvCxnSpPr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4" name="Straight Connector 45" hidden="1"/>
            <p:cNvCxnSpPr>
              <a:cxnSpLocks noChangeShapeType="1"/>
            </p:cNvCxnSpPr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5" name="Straight Connector 46" hidden="1"/>
            <p:cNvCxnSpPr>
              <a:cxnSpLocks noChangeShapeType="1"/>
            </p:cNvCxnSpPr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6" name="Straight Connector 47" hidden="1"/>
            <p:cNvCxnSpPr>
              <a:cxnSpLocks noChangeShapeType="1"/>
            </p:cNvCxnSpPr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7" name="Straight Connector 48" hidden="1"/>
            <p:cNvCxnSpPr>
              <a:cxnSpLocks noChangeShapeType="1"/>
            </p:cNvCxnSpPr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8" name="Straight Connector 50" hidden="1"/>
            <p:cNvCxnSpPr>
              <a:cxnSpLocks noChangeShapeType="1"/>
            </p:cNvCxnSpPr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59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0" name="Straight Connector 52" hidden="1"/>
            <p:cNvCxnSpPr>
              <a:cxnSpLocks noChangeShapeType="1"/>
            </p:cNvCxnSpPr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1" name="Straight Connector 38" hidden="1"/>
            <p:cNvCxnSpPr>
              <a:cxnSpLocks noChangeShapeType="1"/>
            </p:cNvCxnSpPr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2" name="Straight Connector 57" hidden="1"/>
            <p:cNvCxnSpPr>
              <a:cxnSpLocks noChangeShapeType="1"/>
            </p:cNvCxnSpPr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3" name="Straight Connector 22" hidden="1"/>
            <p:cNvCxnSpPr>
              <a:cxnSpLocks noChangeShapeType="1"/>
            </p:cNvCxnSpPr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4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5" name="Straight Connector 51" hidden="1"/>
            <p:cNvCxnSpPr>
              <a:cxnSpLocks noChangeShapeType="1"/>
            </p:cNvCxnSpPr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6" name="Straight Connector 55" hidden="1"/>
            <p:cNvCxnSpPr>
              <a:cxnSpLocks noChangeShapeType="1"/>
            </p:cNvCxnSpPr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7" name="Straight Connector 54" hidden="1"/>
            <p:cNvCxnSpPr>
              <a:cxnSpLocks noChangeShapeType="1"/>
            </p:cNvCxnSpPr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noFill/>
            <a:ln w="6350" algn="ctr">
              <a:solidFill>
                <a:srgbClr val="0070C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7" name="Rechteck 11"/>
          <p:cNvSpPr/>
          <p:nvPr userDrawn="1"/>
        </p:nvSpPr>
        <p:spPr bwMode="hidden">
          <a:xfrm>
            <a:off x="179388" y="5951538"/>
            <a:ext cx="8783637" cy="72072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44000" tIns="144000" rIns="144000" bIns="144000" anchor="ctr"/>
          <a:lstStyle/>
          <a:p>
            <a:pPr defTabSz="995363">
              <a:defRPr/>
            </a:pPr>
            <a:endParaRPr lang="en-US" sz="1400" b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47" name="Rechteck 8"/>
          <p:cNvSpPr>
            <a:spLocks noChangeArrowheads="1"/>
          </p:cNvSpPr>
          <p:nvPr userDrawn="1"/>
        </p:nvSpPr>
        <p:spPr bwMode="gray">
          <a:xfrm>
            <a:off x="8369300" y="6224588"/>
            <a:ext cx="363538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 algn="r">
              <a:defRPr/>
            </a:pPr>
            <a:fld id="{4E2230E1-5BEA-4D6E-8849-9D51DC75E50F}" type="slidenum">
              <a:rPr lang="en-US" altLang="en-US" sz="1000" b="0" smtClean="0">
                <a:solidFill>
                  <a:srgbClr val="000000"/>
                </a:solidFill>
                <a:latin typeface="Arial" panose="020B0604020202020204" pitchFamily="34" charset="0"/>
              </a:rPr>
              <a:pPr algn="r">
                <a:defRPr/>
              </a:pPr>
              <a:t>‹#›</a:t>
            </a:fld>
            <a:endParaRPr lang="en-US" altLang="en-US" sz="1000" b="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1" name="Footer Placeholder 2"/>
          <p:cNvSpPr>
            <a:spLocks noGrp="1"/>
          </p:cNvSpPr>
          <p:nvPr>
            <p:ph type="ftr" sz="quarter" idx="3"/>
          </p:nvPr>
        </p:nvSpPr>
        <p:spPr bwMode="gray">
          <a:xfrm>
            <a:off x="2141538" y="6224588"/>
            <a:ext cx="6227762" cy="252412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b="0"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en-US" dirty="0"/>
              <a:t>Presentation title </a:t>
            </a:r>
            <a:r>
              <a:rPr lang="en-US"/>
              <a:t>| </a:t>
            </a:r>
            <a:r>
              <a:rPr lang="en-US" smtClean="0"/>
              <a:t>Location </a:t>
            </a:r>
            <a:r>
              <a:rPr lang="en-US" dirty="0"/>
              <a:t>| xx Month 20xx</a:t>
            </a:r>
          </a:p>
        </p:txBody>
      </p:sp>
      <p:pic>
        <p:nvPicPr>
          <p:cNvPr id="10249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6278563"/>
            <a:ext cx="125888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Group 27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29" name="Rectangle 28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92557" r:id="rId1"/>
    <p:sldLayoutId id="2147492558" r:id="rId2"/>
    <p:sldLayoutId id="2147492559" r:id="rId3"/>
    <p:sldLayoutId id="2147492560" r:id="rId4"/>
    <p:sldLayoutId id="2147492561" r:id="rId5"/>
    <p:sldLayoutId id="2147492562" r:id="rId6"/>
    <p:sldLayoutId id="2147492563" r:id="rId7"/>
    <p:sldLayoutId id="2147492564" r:id="rId8"/>
    <p:sldLayoutId id="2147492565" r:id="rId9"/>
    <p:sldLayoutId id="2147492566" r:id="rId10"/>
    <p:sldLayoutId id="2147492567" r:id="rId11"/>
    <p:sldLayoutId id="2147492568" r:id="rId12"/>
    <p:sldLayoutId id="2147492569" r:id="rId13"/>
    <p:sldLayoutId id="2147492570" r:id="rId14"/>
    <p:sldLayoutId id="2147492571" r:id="rId15"/>
    <p:sldLayoutId id="2147492572" r:id="rId16"/>
    <p:sldLayoutId id="2147492573" r:id="rId17"/>
    <p:sldLayoutId id="2147492574" r:id="rId18"/>
    <p:sldLayoutId id="2147492575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rgbClr val="D4051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D40511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ts val="500"/>
        </a:spcAft>
        <a:buFont typeface="Arial" panose="020B0604020202020204" pitchFamily="34" charset="0"/>
        <a:defRPr lang="de-DE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0" fontAlgn="base" hangingPunct="0">
        <a:lnSpc>
          <a:spcPct val="110000"/>
        </a:lnSpc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lang="de-DE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rtl="0" eaLnBrk="0" fontAlgn="base" hangingPunct="0">
        <a:lnSpc>
          <a:spcPct val="110000"/>
        </a:lnSpc>
        <a:spcBef>
          <a:spcPct val="0"/>
        </a:spcBef>
        <a:spcAft>
          <a:spcPts val="500"/>
        </a:spcAft>
        <a:buClr>
          <a:schemeClr val="tx1"/>
        </a:buClr>
        <a:buFont typeface="Arial" panose="020B0604020202020204" pitchFamily="34" charset="0"/>
        <a:buChar char="–"/>
        <a:defRPr lang="de-DE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79388" algn="l" rtl="0" eaLnBrk="0" fontAlgn="base" hangingPunct="0">
        <a:lnSpc>
          <a:spcPct val="110000"/>
        </a:lnSpc>
        <a:spcBef>
          <a:spcPct val="0"/>
        </a:spcBef>
        <a:spcAft>
          <a:spcPts val="500"/>
        </a:spcAft>
        <a:buClr>
          <a:schemeClr val="tx1"/>
        </a:buClr>
        <a:buFont typeface="Arial" panose="020B0604020202020204" pitchFamily="34" charset="0"/>
        <a:buChar char="–"/>
        <a:defRPr lang="de-DE" sz="1400" kern="1200">
          <a:solidFill>
            <a:schemeClr val="tx1"/>
          </a:solidFill>
          <a:latin typeface="+mn-lt"/>
          <a:ea typeface="+mn-ea"/>
          <a:cs typeface="+mn-cs"/>
        </a:defRPr>
      </a:lvl4pPr>
      <a:lvl5pPr algn="l" rtl="0" eaLnBrk="0" fontAlgn="base" hangingPunct="0">
        <a:spcBef>
          <a:spcPct val="0"/>
        </a:spcBef>
        <a:spcAft>
          <a:spcPts val="1400"/>
        </a:spcAft>
        <a:buClr>
          <a:schemeClr val="tx1"/>
        </a:buClr>
        <a:defRPr lang="en-US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468313"/>
            <a:ext cx="8207375" cy="420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638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68313" y="1028700"/>
            <a:ext cx="8207375" cy="509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Insert here copy text bold (first level)</a:t>
            </a:r>
          </a:p>
          <a:p>
            <a:pPr lvl="1"/>
            <a:r>
              <a:rPr lang="en-US" altLang="en-US" smtClean="0"/>
              <a:t>Insert here copy text (second level)</a:t>
            </a:r>
          </a:p>
          <a:p>
            <a:pPr lvl="2"/>
            <a:r>
              <a:rPr lang="en-US" altLang="en-US" smtClean="0"/>
              <a:t>Insert here bullet text (third level)</a:t>
            </a:r>
          </a:p>
          <a:p>
            <a:pPr lvl="3"/>
            <a:r>
              <a:rPr lang="en-US" altLang="en-US" smtClean="0"/>
              <a:t>Insert here bullet text (fourth level)</a:t>
            </a:r>
          </a:p>
          <a:p>
            <a:pPr lvl="4"/>
            <a:r>
              <a:rPr lang="en-US" altLang="en-US" smtClean="0"/>
              <a:t>Insert here bullet text (fifth level)</a:t>
            </a:r>
          </a:p>
        </p:txBody>
      </p:sp>
      <p:pic>
        <p:nvPicPr>
          <p:cNvPr id="16388" name="Bild 21" descr="Verlauf_laengs_large_RGB.pn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19813"/>
            <a:ext cx="8785225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9" name="Rechteck 8"/>
          <p:cNvSpPr>
            <a:spLocks noChangeArrowheads="1"/>
          </p:cNvSpPr>
          <p:nvPr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995D1B4D-306F-4B62-900C-E8F63CA4708C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390" name="Bild 9" descr="DHL_rgb_BG.pn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8" name="Rectangle 7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92734" r:id="rId1"/>
    <p:sldLayoutId id="2147492735" r:id="rId2"/>
    <p:sldLayoutId id="2147492736" r:id="rId3"/>
    <p:sldLayoutId id="2147492737" r:id="rId4"/>
    <p:sldLayoutId id="2147492738" r:id="rId5"/>
    <p:sldLayoutId id="2147492739" r:id="rId6"/>
    <p:sldLayoutId id="2147492740" r:id="rId7"/>
    <p:sldLayoutId id="2147492741" r:id="rId8"/>
    <p:sldLayoutId id="2147492742" r:id="rId9"/>
    <p:sldLayoutId id="2147492743" r:id="rId10"/>
    <p:sldLayoutId id="2147492744" r:id="rId11"/>
    <p:sldLayoutId id="2147492745" r:id="rId12"/>
    <p:sldLayoutId id="2147492746" r:id="rId13"/>
    <p:sldLayoutId id="2147492747" r:id="rId14"/>
    <p:sldLayoutId id="2147492748" r:id="rId15"/>
    <p:sldLayoutId id="2147492749" r:id="rId16"/>
    <p:sldLayoutId id="2147492750" r:id="rId17"/>
    <p:sldLayoutId id="2147492751" r:id="rId18"/>
    <p:sldLayoutId id="2147492752" r:id="rId19"/>
    <p:sldLayoutId id="2147492429" r:id="rId20"/>
    <p:sldLayoutId id="2147492430" r:id="rId21"/>
    <p:sldLayoutId id="2147492753" r:id="rId22"/>
    <p:sldLayoutId id="2147492754" r:id="rId23"/>
    <p:sldLayoutId id="2147492755" r:id="rId24"/>
    <p:sldLayoutId id="2147492756" r:id="rId25"/>
    <p:sldLayoutId id="2147492757" r:id="rId26"/>
    <p:sldLayoutId id="2147492431" r:id="rId27"/>
    <p:sldLayoutId id="2147492758" r:id="rId28"/>
    <p:sldLayoutId id="2147492759" r:id="rId29"/>
    <p:sldLayoutId id="2147492760" r:id="rId30"/>
    <p:sldLayoutId id="2147492761" r:id="rId31"/>
    <p:sldLayoutId id="2147492762" r:id="rId32"/>
    <p:sldLayoutId id="2147492764" r:id="rId33"/>
    <p:sldLayoutId id="2147492765" r:id="rId3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 kern="1200" cap="all">
          <a:solidFill>
            <a:srgbClr val="D4051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5pPr>
      <a:lvl6pPr marL="4572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6pPr>
      <a:lvl7pPr marL="9144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7pPr>
      <a:lvl8pPr marL="13716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8pPr>
      <a:lvl9pPr marL="18288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defRPr sz="14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79388" indent="-179388"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358775" indent="-179388" algn="l" rtl="0" eaLnBrk="0" fontAlgn="base" hangingPunct="0">
        <a:spcBef>
          <a:spcPct val="0"/>
        </a:spcBef>
        <a:spcAft>
          <a:spcPts val="5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539750" indent="-179388"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468313"/>
            <a:ext cx="8207375" cy="420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17411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68313" y="1028700"/>
            <a:ext cx="8207375" cy="509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Insert here copy text bold (first level)</a:t>
            </a:r>
          </a:p>
          <a:p>
            <a:pPr lvl="1"/>
            <a:r>
              <a:rPr lang="en-US" altLang="en-US" smtClean="0"/>
              <a:t>Insert here copy text (second level)</a:t>
            </a:r>
          </a:p>
          <a:p>
            <a:pPr lvl="2"/>
            <a:r>
              <a:rPr lang="en-US" altLang="en-US" smtClean="0"/>
              <a:t>Insert here bullet text (third level)</a:t>
            </a:r>
          </a:p>
          <a:p>
            <a:pPr lvl="3"/>
            <a:r>
              <a:rPr lang="en-US" altLang="en-US" smtClean="0"/>
              <a:t>Insert here bullet text (fourth level)</a:t>
            </a:r>
          </a:p>
          <a:p>
            <a:pPr lvl="4"/>
            <a:r>
              <a:rPr lang="en-US" altLang="en-US" smtClean="0"/>
              <a:t>Insert here bullet text (fifth level)</a:t>
            </a:r>
          </a:p>
        </p:txBody>
      </p:sp>
      <p:pic>
        <p:nvPicPr>
          <p:cNvPr id="17412" name="Bild 21" descr="Verlauf_laengs_large_RGB.pn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19813"/>
            <a:ext cx="8785225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3" name="Rechteck 8"/>
          <p:cNvSpPr>
            <a:spLocks noChangeArrowheads="1"/>
          </p:cNvSpPr>
          <p:nvPr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pPr>
              <a:defRPr/>
            </a:pPr>
            <a:fld id="{453C3DFE-E6A7-46FC-908E-112A6B635004}" type="slidenum">
              <a:rPr lang="de-DE" altLang="en-US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de-DE" altLang="en-US" sz="1000" b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414" name="Bild 9" descr="DHL_rgb_BG.pn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/>
          <p:cNvGrpSpPr/>
          <p:nvPr userDrawn="1"/>
        </p:nvGrpSpPr>
        <p:grpSpPr>
          <a:xfrm>
            <a:off x="7640414" y="123825"/>
            <a:ext cx="1247611" cy="1015664"/>
            <a:chOff x="5292079" y="3657599"/>
            <a:chExt cx="1247611" cy="1015664"/>
          </a:xfrm>
        </p:grpSpPr>
        <p:sp>
          <p:nvSpPr>
            <p:cNvPr id="8" name="Rectangle 7"/>
            <p:cNvSpPr/>
            <p:nvPr/>
          </p:nvSpPr>
          <p:spPr>
            <a:xfrm>
              <a:off x="5728644" y="3657599"/>
              <a:ext cx="811046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FFCC00"/>
                    </a:solidFill>
                    <a:prstDash val="solid"/>
                  </a:ln>
                  <a:solidFill>
                    <a:srgbClr val="FFCC00"/>
                  </a:solidFill>
                  <a:latin typeface="Century Gothic" pitchFamily="34" charset="0"/>
                </a:rPr>
                <a:t>Q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5292079" y="3657600"/>
              <a:ext cx="811047" cy="1015663"/>
            </a:xfrm>
            <a:prstGeom prst="rect">
              <a:avLst/>
            </a:prstGeom>
            <a:noFill/>
          </p:spPr>
          <p:txBody>
            <a:bodyPr wrap="none" lIns="72000" tIns="45720" rIns="91440" bIns="4572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6000" dirty="0">
                  <a:ln w="31750" cmpd="sng">
                    <a:solidFill>
                      <a:srgbClr val="D40511">
                        <a:alpha val="80000"/>
                      </a:srgbClr>
                    </a:solidFill>
                    <a:prstDash val="solid"/>
                  </a:ln>
                  <a:solidFill>
                    <a:srgbClr val="D40511">
                      <a:alpha val="80000"/>
                    </a:srgbClr>
                  </a:solidFill>
                  <a:latin typeface="Century Gothic" pitchFamily="34" charset="0"/>
                </a:rPr>
                <a:t>G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92766" r:id="rId1"/>
    <p:sldLayoutId id="2147492767" r:id="rId2"/>
    <p:sldLayoutId id="2147492768" r:id="rId3"/>
    <p:sldLayoutId id="2147492769" r:id="rId4"/>
    <p:sldLayoutId id="2147492770" r:id="rId5"/>
    <p:sldLayoutId id="2147492771" r:id="rId6"/>
    <p:sldLayoutId id="2147492772" r:id="rId7"/>
    <p:sldLayoutId id="2147492773" r:id="rId8"/>
    <p:sldLayoutId id="2147492774" r:id="rId9"/>
    <p:sldLayoutId id="2147492775" r:id="rId10"/>
    <p:sldLayoutId id="2147492776" r:id="rId11"/>
    <p:sldLayoutId id="2147492777" r:id="rId12"/>
    <p:sldLayoutId id="2147492778" r:id="rId13"/>
    <p:sldLayoutId id="2147492779" r:id="rId14"/>
    <p:sldLayoutId id="2147492780" r:id="rId15"/>
    <p:sldLayoutId id="2147492781" r:id="rId16"/>
    <p:sldLayoutId id="2147492782" r:id="rId17"/>
    <p:sldLayoutId id="2147492783" r:id="rId18"/>
    <p:sldLayoutId id="2147492784" r:id="rId19"/>
    <p:sldLayoutId id="2147492432" r:id="rId20"/>
    <p:sldLayoutId id="2147492433" r:id="rId21"/>
    <p:sldLayoutId id="2147492785" r:id="rId22"/>
    <p:sldLayoutId id="2147492786" r:id="rId23"/>
    <p:sldLayoutId id="2147492787" r:id="rId24"/>
    <p:sldLayoutId id="2147492788" r:id="rId25"/>
    <p:sldLayoutId id="2147492789" r:id="rId26"/>
    <p:sldLayoutId id="2147492434" r:id="rId27"/>
    <p:sldLayoutId id="2147492790" r:id="rId28"/>
    <p:sldLayoutId id="2147492791" r:id="rId29"/>
    <p:sldLayoutId id="2147492792" r:id="rId30"/>
    <p:sldLayoutId id="2147492793" r:id="rId31"/>
    <p:sldLayoutId id="2147492795" r:id="rId32"/>
    <p:sldLayoutId id="2147492796" r:id="rId33"/>
    <p:sldLayoutId id="2147492797" r:id="rId3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 kern="1200" cap="all">
          <a:solidFill>
            <a:srgbClr val="D4051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5pPr>
      <a:lvl6pPr marL="4572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6pPr>
      <a:lvl7pPr marL="9144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7pPr>
      <a:lvl8pPr marL="13716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8pPr>
      <a:lvl9pPr marL="18288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9pPr>
    </p:titleStyle>
    <p:bodyStyle>
      <a:lvl1pPr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defRPr sz="14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79388" indent="-179388"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358775" indent="-179388" algn="l" rtl="0" eaLnBrk="0" fontAlgn="base" hangingPunct="0">
        <a:spcBef>
          <a:spcPct val="0"/>
        </a:spcBef>
        <a:spcAft>
          <a:spcPts val="5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539750" indent="-179388" algn="l" rtl="0" eaLnBrk="0" fontAlgn="base" hangingPunct="0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468313"/>
            <a:ext cx="8207375" cy="420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here to insert headline in upper case letters</a:t>
            </a:r>
            <a:endParaRPr lang="en-US" noProof="0" dirty="0"/>
          </a:p>
        </p:txBody>
      </p:sp>
      <p:sp>
        <p:nvSpPr>
          <p:cNvPr id="20483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68313" y="1028700"/>
            <a:ext cx="8207375" cy="509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Insert here copy text bold (first level)</a:t>
            </a:r>
          </a:p>
          <a:p>
            <a:pPr lvl="1"/>
            <a:r>
              <a:rPr lang="en-US" altLang="en-US" smtClean="0"/>
              <a:t>Insert here copy text (second level)</a:t>
            </a:r>
          </a:p>
          <a:p>
            <a:pPr lvl="2"/>
            <a:r>
              <a:rPr lang="en-US" altLang="en-US" smtClean="0"/>
              <a:t>Insert here bullet text (third level)</a:t>
            </a:r>
          </a:p>
          <a:p>
            <a:pPr lvl="3"/>
            <a:r>
              <a:rPr lang="en-US" altLang="en-US" smtClean="0"/>
              <a:t>Insert here bullet text (fourth level)</a:t>
            </a:r>
          </a:p>
          <a:p>
            <a:pPr lvl="4"/>
            <a:r>
              <a:rPr lang="en-US" altLang="en-US" smtClean="0"/>
              <a:t>Insert here bullet text (fifth level)</a:t>
            </a:r>
          </a:p>
        </p:txBody>
      </p:sp>
      <p:pic>
        <p:nvPicPr>
          <p:cNvPr id="20484" name="Bild 21" descr="Verlauf_laengs_large_RGB.png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119813"/>
            <a:ext cx="8785225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5" name="Rechteck 8"/>
          <p:cNvSpPr>
            <a:spLocks noChangeArrowheads="1"/>
          </p:cNvSpPr>
          <p:nvPr/>
        </p:nvSpPr>
        <p:spPr bwMode="auto">
          <a:xfrm>
            <a:off x="465138" y="6253163"/>
            <a:ext cx="363537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1pPr>
            <a:lvl2pPr marL="742950" indent="-28575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2pPr>
            <a:lvl3pPr marL="11430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3pPr>
            <a:lvl4pPr marL="16002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4pPr>
            <a:lvl5pPr marL="2057400" indent="-228600" defTabSz="995363"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5pPr>
            <a:lvl6pPr marL="25146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6pPr>
            <a:lvl7pPr marL="29718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7pPr>
            <a:lvl8pPr marL="34290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8pPr>
            <a:lvl9pPr marL="3886200" indent="-228600" defTabSz="99536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Frutiger" panose="020B0500000000000000" pitchFamily="34" charset="0"/>
                <a:sym typeface="Wingdings 2" panose="05020102010507070707" pitchFamily="18" charset="2"/>
              </a:defRPr>
            </a:lvl9pPr>
          </a:lstStyle>
          <a:p>
            <a:fld id="{4D473199-999C-4584-8FC9-DC8587E4C9E0}" type="slidenum">
              <a:rPr lang="de-DE" altLang="en-US" sz="1000" b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de-DE" altLang="en-US" sz="1000" b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486" name="Bild 9" descr="DHL_rgb_BG.png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0963" y="6332538"/>
            <a:ext cx="976312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2864" r:id="rId1"/>
    <p:sldLayoutId id="2147492865" r:id="rId2"/>
    <p:sldLayoutId id="2147492866" r:id="rId3"/>
    <p:sldLayoutId id="2147492867" r:id="rId4"/>
    <p:sldLayoutId id="2147492868" r:id="rId5"/>
    <p:sldLayoutId id="2147492869" r:id="rId6"/>
    <p:sldLayoutId id="2147492870" r:id="rId7"/>
    <p:sldLayoutId id="2147492871" r:id="rId8"/>
    <p:sldLayoutId id="2147492872" r:id="rId9"/>
    <p:sldLayoutId id="2147492873" r:id="rId10"/>
    <p:sldLayoutId id="2147492874" r:id="rId11"/>
    <p:sldLayoutId id="2147492875" r:id="rId12"/>
    <p:sldLayoutId id="2147492876" r:id="rId13"/>
    <p:sldLayoutId id="2147492877" r:id="rId14"/>
    <p:sldLayoutId id="2147492878" r:id="rId15"/>
    <p:sldLayoutId id="2147492879" r:id="rId16"/>
    <p:sldLayoutId id="2147492880" r:id="rId17"/>
    <p:sldLayoutId id="2147492881" r:id="rId18"/>
    <p:sldLayoutId id="2147492882" r:id="rId19"/>
    <p:sldLayoutId id="2147492441" r:id="rId20"/>
    <p:sldLayoutId id="2147492442" r:id="rId21"/>
    <p:sldLayoutId id="2147492883" r:id="rId22"/>
    <p:sldLayoutId id="2147492884" r:id="rId23"/>
    <p:sldLayoutId id="2147492885" r:id="rId24"/>
    <p:sldLayoutId id="2147492886" r:id="rId25"/>
    <p:sldLayoutId id="2147492887" r:id="rId26"/>
    <p:sldLayoutId id="2147492443" r:id="rId27"/>
    <p:sldLayoutId id="2147492888" r:id="rId28"/>
    <p:sldLayoutId id="2147492890" r:id="rId2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lnSpc>
          <a:spcPts val="3200"/>
        </a:lnSpc>
        <a:spcBef>
          <a:spcPct val="0"/>
        </a:spcBef>
        <a:spcAft>
          <a:spcPct val="0"/>
        </a:spcAft>
        <a:defRPr sz="2400" b="1" kern="1200" cap="all">
          <a:solidFill>
            <a:srgbClr val="D40511"/>
          </a:solidFill>
          <a:latin typeface="Calibri" panose="020F0502020204030204" pitchFamily="34" charset="0"/>
          <a:ea typeface="+mj-ea"/>
          <a:cs typeface="+mj-cs"/>
        </a:defRPr>
      </a:lvl1pPr>
      <a:lvl2pPr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2pPr>
      <a:lvl3pPr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3pPr>
      <a:lvl4pPr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4pPr>
      <a:lvl5pPr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5pPr>
      <a:lvl6pPr marL="4572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6pPr>
      <a:lvl7pPr marL="9144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7pPr>
      <a:lvl8pPr marL="13716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8pPr>
      <a:lvl9pPr marL="1828800" algn="l" rtl="0" fontAlgn="base">
        <a:lnSpc>
          <a:spcPts val="3200"/>
        </a:lnSpc>
        <a:spcBef>
          <a:spcPct val="0"/>
        </a:spcBef>
        <a:spcAft>
          <a:spcPct val="0"/>
        </a:spcAft>
        <a:defRPr sz="2400" b="1">
          <a:solidFill>
            <a:srgbClr val="D40511"/>
          </a:solidFill>
          <a:latin typeface="Calibri" panose="020F0502020204030204" pitchFamily="34" charset="0"/>
        </a:defRPr>
      </a:lvl9pPr>
    </p:titleStyle>
    <p:bodyStyle>
      <a:lvl1pPr algn="l" rtl="0" fontAlgn="base">
        <a:spcBef>
          <a:spcPct val="0"/>
        </a:spcBef>
        <a:spcAft>
          <a:spcPts val="500"/>
        </a:spcAft>
        <a:buFont typeface="Arial" panose="020B0604020202020204" pitchFamily="34" charset="0"/>
        <a:defRPr sz="14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algn="l" rtl="0" fontAlgn="base">
        <a:spcBef>
          <a:spcPct val="0"/>
        </a:spcBef>
        <a:spcAft>
          <a:spcPts val="500"/>
        </a:spcAft>
        <a:buFont typeface="Arial" panose="020B0604020202020204" pitchFamily="34" charset="0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79388" indent="-179388" algn="l" rtl="0" fontAlgn="base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358775" indent="-179388" algn="l" rtl="0" fontAlgn="base">
        <a:spcBef>
          <a:spcPct val="0"/>
        </a:spcBef>
        <a:spcAft>
          <a:spcPts val="5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539750" indent="-179388" algn="l" rtl="0" fontAlgn="base">
        <a:spcBef>
          <a:spcPct val="0"/>
        </a:spcBef>
        <a:spcAft>
          <a:spcPts val="5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12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177.vml"/><Relationship Id="rId6" Type="http://schemas.openxmlformats.org/officeDocument/2006/relationships/oleObject" Target="../embeddings/oleObject18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196.xml"/><Relationship Id="rId7" Type="http://schemas.openxmlformats.org/officeDocument/2006/relationships/image" Target="../media/image12.emf"/><Relationship Id="rId2" Type="http://schemas.openxmlformats.org/officeDocument/2006/relationships/tags" Target="../tags/tag195.xml"/><Relationship Id="rId1" Type="http://schemas.openxmlformats.org/officeDocument/2006/relationships/vmlDrawing" Target="../drawings/vmlDrawing178.vml"/><Relationship Id="rId6" Type="http://schemas.openxmlformats.org/officeDocument/2006/relationships/oleObject" Target="../embeddings/oleObject18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198.xml"/><Relationship Id="rId7" Type="http://schemas.openxmlformats.org/officeDocument/2006/relationships/image" Target="../media/image12.emf"/><Relationship Id="rId2" Type="http://schemas.openxmlformats.org/officeDocument/2006/relationships/tags" Target="../tags/tag197.xml"/><Relationship Id="rId1" Type="http://schemas.openxmlformats.org/officeDocument/2006/relationships/vmlDrawing" Target="../drawings/vmlDrawing179.vml"/><Relationship Id="rId6" Type="http://schemas.openxmlformats.org/officeDocument/2006/relationships/oleObject" Target="../embeddings/oleObject18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200.xml"/><Relationship Id="rId7" Type="http://schemas.openxmlformats.org/officeDocument/2006/relationships/image" Target="../media/image12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180.vml"/><Relationship Id="rId6" Type="http://schemas.openxmlformats.org/officeDocument/2006/relationships/oleObject" Target="../embeddings/oleObject19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12.emf"/><Relationship Id="rId2" Type="http://schemas.openxmlformats.org/officeDocument/2006/relationships/tags" Target="../tags/tag201.xml"/><Relationship Id="rId1" Type="http://schemas.openxmlformats.org/officeDocument/2006/relationships/vmlDrawing" Target="../drawings/vmlDrawing181.vml"/><Relationship Id="rId6" Type="http://schemas.openxmlformats.org/officeDocument/2006/relationships/oleObject" Target="../embeddings/oleObject19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12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182.vml"/><Relationship Id="rId6" Type="http://schemas.openxmlformats.org/officeDocument/2006/relationships/oleObject" Target="../embeddings/oleObject19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206.xml"/><Relationship Id="rId7" Type="http://schemas.openxmlformats.org/officeDocument/2006/relationships/image" Target="../media/image12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83.vml"/><Relationship Id="rId6" Type="http://schemas.openxmlformats.org/officeDocument/2006/relationships/oleObject" Target="../embeddings/oleObject19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4114" name="Picture Placeholder 3"/>
          <p:cNvPicPr>
            <a:picLocks noGrp="1" noChangeAspect="1" noChangeArrowheads="1"/>
          </p:cNvPicPr>
          <p:nvPr>
            <p:ph type="pic" sz="quarter" idx="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06991"/>
            <a:ext cx="9144000" cy="68580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1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7"/>
          </p:nvPr>
        </p:nvSpPr>
        <p:spPr>
          <a:xfrm rot="10800000">
            <a:off x="-2" y="106991"/>
            <a:ext cx="3721100" cy="3573463"/>
          </a:xfrm>
        </p:spPr>
        <p:txBody>
          <a:bodyPr/>
          <a:lstStyle/>
          <a:p>
            <a:pPr marL="0" indent="0" eaLnBrk="1" hangingPunct="1">
              <a:buFont typeface="Arial" charset="0"/>
              <a:buNone/>
              <a:defRPr/>
            </a:pPr>
            <a:r>
              <a:rPr lang="en-US" dirty="0"/>
              <a:t>Country Implementation</a:t>
            </a:r>
          </a:p>
        </p:txBody>
      </p:sp>
      <p:sp>
        <p:nvSpPr>
          <p:cNvPr id="10" name="Untertitel 9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6"/>
          </p:nvPr>
        </p:nvSpPr>
        <p:spPr>
          <a:xfrm>
            <a:off x="193675" y="419100"/>
            <a:ext cx="1800225" cy="260350"/>
          </a:xfrm>
        </p:spPr>
        <p:txBody>
          <a:bodyPr/>
          <a:lstStyle/>
          <a:p>
            <a:pPr marL="0" indent="0" eaLnBrk="1" hangingPunct="1">
              <a:buFont typeface="Arial" charset="0"/>
              <a:buNone/>
              <a:defRPr/>
            </a:pPr>
            <a:r>
              <a:rPr lang="en-US" b="1" dirty="0"/>
              <a:t>DHL Express</a:t>
            </a:r>
          </a:p>
        </p:txBody>
      </p:sp>
      <p:sp>
        <p:nvSpPr>
          <p:cNvPr id="6" name="Title 5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16540"/>
            <a:ext cx="4450335" cy="2514600"/>
          </a:xfrm>
        </p:spPr>
        <p:txBody>
          <a:bodyPr/>
          <a:lstStyle/>
          <a:p>
            <a:pPr eaLnBrk="1" hangingPunct="1">
              <a:defRPr/>
            </a:pPr>
            <a:r>
              <a:rPr lang="en-US" sz="2400" dirty="0"/>
              <a:t> </a:t>
            </a:r>
            <a:br>
              <a:rPr lang="en-US" sz="2400" dirty="0"/>
            </a:br>
            <a:r>
              <a:rPr lang="en-US" sz="2400" dirty="0" smtClean="0"/>
              <a:t>Internet of Things </a:t>
            </a:r>
            <a:br>
              <a:rPr lang="en-US" sz="2400" dirty="0" smtClean="0"/>
            </a:br>
            <a:r>
              <a:rPr lang="en-US" sz="2400" dirty="0" smtClean="0"/>
              <a:t>in logistic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01" y="1628750"/>
            <a:ext cx="2256279" cy="19469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616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127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3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127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rtlCol="0">
            <a:noAutofit/>
          </a:bodyPr>
          <a:lstStyle/>
          <a:p>
            <a:pPr defTabSz="831281" eaLnBrk="1" fontAlgn="auto" hangingPunct="1">
              <a:spcAft>
                <a:spcPts val="0"/>
              </a:spcAft>
              <a:defRPr/>
            </a:pPr>
            <a:r>
              <a:rPr lang="en-US" altLang="en-US" sz="2000" kern="0" dirty="0" smtClean="0"/>
              <a:t>DHL Fact Sheet</a:t>
            </a:r>
            <a:r>
              <a:rPr lang="en-US" altLang="en-US" sz="2000" kern="0" dirty="0" smtClean="0"/>
              <a:t> </a:t>
            </a:r>
            <a:endParaRPr lang="en-US" altLang="en-US" sz="2000" kern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411769" y="1124680"/>
            <a:ext cx="8315325" cy="4586210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 smtClean="0"/>
              <a:t>Head Office  is in  Bonn, Germany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 smtClean="0"/>
              <a:t>Over 220 countries and territories and approximately 500 airports served globally- The most international company in the world.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 smtClean="0"/>
              <a:t>More than 60,000 service points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 smtClean="0"/>
              <a:t>Over 250 dedicated aircrafts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 smtClean="0"/>
              <a:t>Approximately 2,500 daily flights</a:t>
            </a:r>
          </a:p>
          <a:p>
            <a:pPr marL="171450" indent="-171450">
              <a:buFont typeface="Wingdings" panose="05000000000000000000" pitchFamily="2" charset="2"/>
              <a:buChar char="v"/>
            </a:pPr>
            <a:r>
              <a:rPr lang="en-US" dirty="0" smtClean="0"/>
              <a:t>Over 2.7 million customers </a:t>
            </a:r>
          </a:p>
          <a:p>
            <a:endParaRPr lang="en-US" dirty="0"/>
          </a:p>
          <a:p>
            <a:r>
              <a:rPr lang="en-US" dirty="0" smtClean="0"/>
              <a:t>DHL is the leading global brand in the logistics industry with four  divisions- DHL Express, DHL Ecommerce, DHL Supply Chain, DHL Global Forwarding, DHL Parcel, DHL Freight, Deutsche Post International.</a:t>
            </a:r>
          </a:p>
          <a:p>
            <a:endParaRPr lang="en-US" dirty="0" smtClean="0"/>
          </a:p>
          <a:p>
            <a:r>
              <a:rPr lang="en-US" sz="1400" b="1" dirty="0" smtClean="0"/>
              <a:t>Logistic Services:</a:t>
            </a:r>
          </a:p>
          <a:p>
            <a:r>
              <a:rPr lang="en-US" dirty="0" smtClean="0"/>
              <a:t>National and International Parcel Delivery</a:t>
            </a:r>
          </a:p>
          <a:p>
            <a:r>
              <a:rPr lang="en-US" dirty="0" smtClean="0"/>
              <a:t>Road, Air and Ocean Transport</a:t>
            </a:r>
          </a:p>
          <a:p>
            <a:r>
              <a:rPr lang="en-US" dirty="0" smtClean="0"/>
              <a:t>Industrial Supply Chain Management</a:t>
            </a:r>
          </a:p>
          <a:p>
            <a:endParaRPr lang="en-US" dirty="0"/>
          </a:p>
          <a:p>
            <a:r>
              <a:rPr lang="en-US" dirty="0" smtClean="0"/>
              <a:t>We serve all industries and also provide specialized services for growth markets, technology, life sciences and health care, energy, automotive and retail. 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616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127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127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rtlCol="0">
            <a:noAutofit/>
          </a:bodyPr>
          <a:lstStyle/>
          <a:p>
            <a:pPr defTabSz="831281" eaLnBrk="1" fontAlgn="auto" hangingPunct="1">
              <a:spcAft>
                <a:spcPts val="0"/>
              </a:spcAft>
              <a:defRPr/>
            </a:pPr>
            <a:r>
              <a:rPr lang="en-US" altLang="en-US" sz="2000" kern="0" dirty="0" smtClean="0"/>
              <a:t>Why IoT- We Move Things </a:t>
            </a:r>
            <a:endParaRPr lang="en-US" altLang="en-US" sz="2000" kern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414337" y="1052670"/>
            <a:ext cx="8315325" cy="4602770"/>
          </a:xfrm>
        </p:spPr>
        <p:txBody>
          <a:bodyPr/>
          <a:lstStyle/>
          <a:p>
            <a:r>
              <a:rPr lang="en-US" dirty="0"/>
              <a:t>The Internet of Things (IoT) has the potential to connect virtually anything to the internet and accelerate data-driven </a:t>
            </a:r>
            <a:r>
              <a:rPr lang="en-US" dirty="0" smtClean="0"/>
              <a:t>logistics.</a:t>
            </a:r>
          </a:p>
          <a:p>
            <a:r>
              <a:rPr lang="en-US" dirty="0" smtClean="0"/>
              <a:t>IoT presents 1.9Trillion opportunity in logistics with global </a:t>
            </a:r>
            <a:r>
              <a:rPr lang="en-US" dirty="0"/>
              <a:t>connected logistics market estimated to substantially grow to $27 billion at a CAGR of 7.6% until 2023, 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Significant Implications for logistics and benefits that extend across the entire supply chain:</a:t>
            </a:r>
          </a:p>
        </p:txBody>
      </p:sp>
      <p:sp>
        <p:nvSpPr>
          <p:cNvPr id="2" name="Chevron 1"/>
          <p:cNvSpPr/>
          <p:nvPr/>
        </p:nvSpPr>
        <p:spPr bwMode="auto">
          <a:xfrm>
            <a:off x="3106287" y="3719975"/>
            <a:ext cx="1296180" cy="1152160"/>
          </a:xfrm>
          <a:prstGeom prst="chevron">
            <a:avLst/>
          </a:prstGeom>
          <a:solidFill>
            <a:srgbClr val="D4051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424528" y="3035093"/>
            <a:ext cx="2304320" cy="2521924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Operation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Warehous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Freight </a:t>
            </a:r>
            <a:r>
              <a:rPr lang="en-US" sz="1400" dirty="0" smtClean="0"/>
              <a:t>Transportati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 smtClean="0"/>
              <a:t>Last </a:t>
            </a:r>
            <a:r>
              <a:rPr lang="en-US" sz="1400" dirty="0"/>
              <a:t>Mile </a:t>
            </a:r>
            <a:r>
              <a:rPr lang="en-US" sz="1400" dirty="0" smtClean="0"/>
              <a:t>Deliver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400" dirty="0"/>
              <a:t>Customer Experience</a:t>
            </a:r>
            <a:endParaRPr lang="en-US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88030" y="2874034"/>
            <a:ext cx="3583454" cy="321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5251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616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127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7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127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rtlCol="0">
            <a:noAutofit/>
          </a:bodyPr>
          <a:lstStyle/>
          <a:p>
            <a:pPr defTabSz="831281" eaLnBrk="1" fontAlgn="auto" hangingPunct="1">
              <a:spcAft>
                <a:spcPts val="0"/>
              </a:spcAft>
              <a:defRPr/>
            </a:pPr>
            <a:r>
              <a:rPr lang="en-US" altLang="en-US" sz="2000" kern="0" dirty="0" smtClean="0"/>
              <a:t>DHL and IoT</a:t>
            </a:r>
            <a:endParaRPr lang="en-US" altLang="en-US" sz="2000" kern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-39382"/>
            <a:ext cx="9252650" cy="689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4581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616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127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15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127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rtlCol="0">
            <a:noAutofit/>
          </a:bodyPr>
          <a:lstStyle/>
          <a:p>
            <a:pPr defTabSz="831281" eaLnBrk="1" fontAlgn="auto" hangingPunct="1">
              <a:spcAft>
                <a:spcPts val="0"/>
              </a:spcAft>
              <a:defRPr/>
            </a:pPr>
            <a:r>
              <a:rPr lang="en-US" altLang="en-US" sz="2000" kern="0" dirty="0" smtClean="0"/>
              <a:t>DHL and IoT</a:t>
            </a:r>
            <a:endParaRPr lang="en-US" altLang="en-US" sz="2000" kern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414340" y="1124680"/>
            <a:ext cx="8315325" cy="4880120"/>
          </a:xfrm>
        </p:spPr>
        <p:txBody>
          <a:bodyPr/>
          <a:lstStyle/>
          <a:p>
            <a:pPr>
              <a:lnSpc>
                <a:spcPct val="300000"/>
              </a:lnSpc>
            </a:pPr>
            <a:endParaRPr lang="en-US" dirty="0" smtClean="0"/>
          </a:p>
          <a:p>
            <a:pPr>
              <a:lnSpc>
                <a:spcPct val="300000"/>
              </a:lnSpc>
            </a:pPr>
            <a:r>
              <a:rPr lang="en-US" dirty="0" smtClean="0"/>
              <a:t>Augmented Reality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Sensor Technology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Self Driving Vehicles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Unmanned Aerial Vehicles</a:t>
            </a:r>
          </a:p>
          <a:p>
            <a:pPr>
              <a:lnSpc>
                <a:spcPct val="300000"/>
              </a:lnSpc>
            </a:pPr>
            <a:r>
              <a:rPr lang="en-US" dirty="0" smtClean="0"/>
              <a:t>Big Data in logistics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22363" y="1124680"/>
            <a:ext cx="4907300" cy="488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49280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616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127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8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127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rtlCol="0">
            <a:noAutofit/>
          </a:bodyPr>
          <a:lstStyle/>
          <a:p>
            <a:pPr defTabSz="831281" eaLnBrk="1" fontAlgn="auto" hangingPunct="1">
              <a:spcAft>
                <a:spcPts val="0"/>
              </a:spcAft>
              <a:defRPr/>
            </a:pPr>
            <a:r>
              <a:rPr lang="en-US" altLang="en-US" sz="2000" kern="0" dirty="0" smtClean="0"/>
              <a:t>IoT in Action - Logistics</a:t>
            </a:r>
            <a:endParaRPr lang="en-US" altLang="en-US" sz="2000" kern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331135" y="1124680"/>
            <a:ext cx="8315325" cy="4586210"/>
          </a:xfrm>
        </p:spPr>
        <p:txBody>
          <a:bodyPr/>
          <a:lstStyle/>
          <a:p>
            <a:r>
              <a:rPr lang="en-US" dirty="0" smtClean="0"/>
              <a:t>Smart Warehousing</a:t>
            </a:r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 smtClean="0"/>
              <a:t>Wireless readers (scanners) capture data – aggregate- process  ( product information, volume, dimension </a:t>
            </a:r>
            <a:r>
              <a:rPr lang="en-US" dirty="0" err="1" smtClean="0"/>
              <a:t>etc</a:t>
            </a:r>
            <a:r>
              <a:rPr lang="en-US" dirty="0" smtClean="0"/>
              <a:t>)</a:t>
            </a:r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 smtClean="0"/>
              <a:t>Tags on pallets/ shipments transmit signals to the WMS advising of each movement and providing real-time visibility. Supports and managements inventory levels.</a:t>
            </a:r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 smtClean="0"/>
              <a:t>Sensors can track misplaced packages and alert warehouse manager for corrective action</a:t>
            </a:r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 smtClean="0"/>
              <a:t>Sensors monitor and alert changes in temperature for temperature sensitive items and provide alerts to ensure quality and greater customer confidence.</a:t>
            </a:r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 smtClean="0"/>
              <a:t>Heat maps to increase safety, support supervisor/managers in monitoring warehouse floor, prevent accidents ( Traffic plan) , identify opportunities.</a:t>
            </a:r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 smtClean="0"/>
              <a:t>Real-time visibility of employees and events</a:t>
            </a:r>
          </a:p>
          <a:p>
            <a:endParaRPr lang="en-US" dirty="0" smtClean="0"/>
          </a:p>
          <a:p>
            <a:r>
              <a:rPr lang="en-US" dirty="0" smtClean="0"/>
              <a:t>Freight Transportation</a:t>
            </a:r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/>
              <a:t>Telematics sensors in trucks and multi-sensor tags on items transmit data on location, condition (whether any thresholds have been crossed), and if a package has been opened (to detect possible theft).</a:t>
            </a:r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 smtClean="0"/>
              <a:t>Fleet </a:t>
            </a:r>
            <a:r>
              <a:rPr lang="en-US" dirty="0"/>
              <a:t>and asset management. For example, sensors can monitor how often a truck, container or ULD is in use or idle. They then transmit this data for analysis on optimal utilization</a:t>
            </a:r>
            <a:endParaRPr lang="en-US" dirty="0" smtClean="0"/>
          </a:p>
          <a:p>
            <a:pPr marL="498475" lvl="2" indent="-171450">
              <a:buFont typeface="Wingdings" panose="05000000000000000000" pitchFamily="2" charset="2"/>
              <a:buChar char="ü"/>
            </a:pPr>
            <a:r>
              <a:rPr lang="en-US" dirty="0"/>
              <a:t>End-to-end supply chain risk management - DHL Resilience360 for supply chain risk management, which provides a multi-tiered visualization of the end-to-end supply chain. </a:t>
            </a:r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8580007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616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127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1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127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rtlCol="0">
            <a:noAutofit/>
          </a:bodyPr>
          <a:lstStyle/>
          <a:p>
            <a:pPr defTabSz="831281" eaLnBrk="1" fontAlgn="auto" hangingPunct="1">
              <a:spcAft>
                <a:spcPts val="0"/>
              </a:spcAft>
              <a:defRPr/>
            </a:pPr>
            <a:r>
              <a:rPr lang="en-US" altLang="en-US" sz="2000" kern="0" dirty="0" smtClean="0"/>
              <a:t>Factor Driving IoT in Logistics</a:t>
            </a:r>
            <a:endParaRPr lang="en-US" altLang="en-US" sz="2000" kern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smtClean="0"/>
              <a:t>Rise in Mobile Computing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smtClean="0"/>
              <a:t>Customer Demand for IoT based solution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smtClean="0"/>
              <a:t>Consumerism of IT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smtClean="0"/>
              <a:t>5G network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/>
              <a:t>D</a:t>
            </a:r>
            <a:r>
              <a:rPr lang="en-US" dirty="0" smtClean="0"/>
              <a:t>ata Analytics</a:t>
            </a:r>
            <a:endParaRPr lang="en-US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smtClean="0"/>
              <a:t>Need for transparency and integrity control ( Right product, time, place, quality, conditions, cost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smtClean="0"/>
              <a:t>Customer demand for detailed shipment tracking and visibility in real0time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smtClean="0"/>
              <a:t>Integrity control of sensitive goods ( e.g. medical 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dirty="0" smtClean="0"/>
              <a:t>Warehousing efficiency and cost optimization– smart inventory, damage detection, asset utilization, predictive maintenance</a:t>
            </a:r>
          </a:p>
          <a:p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074301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616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31273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1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31273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/>
        <p:txBody>
          <a:bodyPr rtlCol="0">
            <a:noAutofit/>
          </a:bodyPr>
          <a:lstStyle/>
          <a:p>
            <a:pPr defTabSz="831281" eaLnBrk="1" fontAlgn="auto" hangingPunct="1">
              <a:spcAft>
                <a:spcPts val="0"/>
              </a:spcAft>
              <a:defRPr/>
            </a:pPr>
            <a:r>
              <a:rPr lang="en-US" altLang="en-US" sz="2000" kern="0" dirty="0" smtClean="0"/>
              <a:t>IoT in Logistics: Key Factors for Success &amp; Main Challenges</a:t>
            </a:r>
            <a:endParaRPr lang="en-US" altLang="en-US" sz="2000" kern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2"/>
          </p:nvPr>
        </p:nvSpPr>
        <p:spPr>
          <a:xfrm>
            <a:off x="414338" y="1124680"/>
            <a:ext cx="4661732" cy="4586210"/>
          </a:xfrm>
        </p:spPr>
        <p:txBody>
          <a:bodyPr/>
          <a:lstStyle/>
          <a:p>
            <a:r>
              <a:rPr lang="en-US" dirty="0" smtClean="0"/>
              <a:t>Success </a:t>
            </a:r>
          </a:p>
          <a:p>
            <a:r>
              <a:rPr lang="en-US" dirty="0" smtClean="0"/>
              <a:t>Seamless interoperability in heterogeneous environments</a:t>
            </a:r>
          </a:p>
          <a:p>
            <a:r>
              <a:rPr lang="en-US" dirty="0" smtClean="0"/>
              <a:t>Establishment of trust and ownership of data dealing with privacy issues in IoT supply chain</a:t>
            </a:r>
          </a:p>
          <a:p>
            <a:r>
              <a:rPr lang="en-US" dirty="0" smtClean="0"/>
              <a:t>Focus on clarity of architecture for IoT</a:t>
            </a:r>
          </a:p>
          <a:p>
            <a:r>
              <a:rPr lang="en-US" dirty="0" smtClean="0"/>
              <a:t>Change in business mindset to embrace full potential of IoT</a:t>
            </a:r>
          </a:p>
          <a:p>
            <a:endParaRPr lang="en-US" dirty="0"/>
          </a:p>
          <a:p>
            <a:r>
              <a:rPr lang="en-US" dirty="0" smtClean="0"/>
              <a:t>Challenges</a:t>
            </a:r>
          </a:p>
          <a:p>
            <a:r>
              <a:rPr lang="en-US" dirty="0" smtClean="0"/>
              <a:t>Cost of Deployment</a:t>
            </a:r>
          </a:p>
          <a:p>
            <a:r>
              <a:rPr lang="en-US" dirty="0" smtClean="0"/>
              <a:t>Security Concerns</a:t>
            </a:r>
          </a:p>
          <a:p>
            <a:r>
              <a:rPr lang="en-US" dirty="0" smtClean="0"/>
              <a:t>Absence of Standards in logistics industry ( Industry fragmented)</a:t>
            </a:r>
          </a:p>
          <a:p>
            <a:endParaRPr lang="en-US" dirty="0" smtClean="0"/>
          </a:p>
          <a:p>
            <a:r>
              <a:rPr lang="en-US" b="1" dirty="0" smtClean="0"/>
              <a:t>Outlook</a:t>
            </a:r>
          </a:p>
          <a:p>
            <a:r>
              <a:rPr lang="en-US" dirty="0" smtClean="0"/>
              <a:t>Breakthroughs in development of </a:t>
            </a:r>
            <a:r>
              <a:rPr lang="en-US" dirty="0"/>
              <a:t>low-cost IoT networks </a:t>
            </a:r>
            <a:r>
              <a:rPr lang="en-US" dirty="0"/>
              <a:t> </a:t>
            </a:r>
            <a:r>
              <a:rPr lang="en-US" dirty="0" smtClean="0"/>
              <a:t>and reduction in </a:t>
            </a:r>
            <a:r>
              <a:rPr lang="en-US" dirty="0"/>
              <a:t>sensor prices </a:t>
            </a:r>
            <a:r>
              <a:rPr lang="en-US" dirty="0" smtClean="0"/>
              <a:t>thus  enabling large-scale </a:t>
            </a:r>
            <a:r>
              <a:rPr lang="en-US" dirty="0"/>
              <a:t>IoT deployments in logistics</a:t>
            </a:r>
            <a:endParaRPr lang="en-US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76070" y="1124680"/>
            <a:ext cx="3653592" cy="284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35591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/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t="14877" b="14877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LogoPOST"/>
  <p:tag name="SHAPECLASSFILE" val="DHL_Ex_extern.gif"/>
  <p:tag name="SHAPECLASSPROTECTIONTYPE" val="1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LogoPOST"/>
  <p:tag name="SHAPECLASSFILE" val="DHL_Ex_extern.gif"/>
  <p:tag name="SHAPECLASSPROTECTIONTYPE" val="1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LogoPOST"/>
  <p:tag name="SHAPECLASSFILE" val="DHL_Ex_extern.gif"/>
  <p:tag name="SHAPECLASSPROTECTIONTYPE" val="1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hapeSet13"/>
  <p:tag name="COLORSETGROUPCLASSNAME" val="ColorSetGroup1"/>
  <p:tag name="FONTSETGROUPCLASSNAME" val="FontSetGroup1"/>
  <p:tag name="SHAPECLASSNAME" val="TitleOnSlide"/>
  <p:tag name="SHAPECLASSPROTECTIONTYPE" val="11"/>
  <p:tag name="THINKCELLSHAPEDONOTDELETE" val="p51A.TOo55E.WcOmxS1vL8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hapeSet13"/>
  <p:tag name="COLORSETGROUPCLASSNAME" val="ColorSetGroup1"/>
  <p:tag name="FONTSETGROUPCLASSNAME" val="FontSetGroup1"/>
  <p:tag name="SHAPECLASSNAME" val="TitleOnSlide"/>
  <p:tag name="SHAPECLASSPROTECTIONTYPE" val="11"/>
  <p:tag name="THINKCELLSHAPEDONOTDELETE" val="p51A.TOo55E.WcOmxS1vL8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hapeSet13"/>
  <p:tag name="COLORSETGROUPCLASSNAME" val="ColorSetGroup1"/>
  <p:tag name="FONTSETGROUPCLASSNAME" val="FontSetGroup1"/>
  <p:tag name="SHAPECLASSNAME" val="TitleOnSlide"/>
  <p:tag name="SHAPECLASSPROTECTIONTYPE" val="11"/>
  <p:tag name="THINKCELLSHAPEDONOTDELETE" val="p51A.TOo55E.WcOmxS1vL8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hapeSet13"/>
  <p:tag name="COLORSETGROUPCLASSNAME" val="ColorSetGroup1"/>
  <p:tag name="FONTSETGROUPCLASSNAME" val="FontSetGroup1"/>
  <p:tag name="SHAPECLASSNAME" val="TitleOnSlide"/>
  <p:tag name="SHAPECLASSPROTECTIONTYPE" val="11"/>
  <p:tag name="THINKCELLSHAPEDONOTDELETE" val="p51A.TOo55E.WcOmxS1vL8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hapeSet13"/>
  <p:tag name="COLORSETGROUPCLASSNAME" val="ColorSetGroup1"/>
  <p:tag name="FONTSETGROUPCLASSNAME" val="FontSetGroup1"/>
  <p:tag name="SHAPECLASSNAME" val="TitleOnSlide"/>
  <p:tag name="SHAPECLASSPROTECTIONTYPE" val="11"/>
  <p:tag name="THINKCELLSHAPEDONOTDELETE" val="p51A.TOo55E.WcOmxS1vL8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hapeSet13"/>
  <p:tag name="COLORSETGROUPCLASSNAME" val="ColorSetGroup1"/>
  <p:tag name="FONTSETGROUPCLASSNAME" val="FontSetGroup1"/>
  <p:tag name="SHAPECLASSNAME" val="TitleOnSlide"/>
  <p:tag name="SHAPECLASSPROTECTIONTYPE" val="11"/>
  <p:tag name="THINKCELLSHAPEDONOTDELETE" val="p51A.TOo55E.WcOmxS1vL8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Font"/>
  <p:tag name="FONTSETCLASSNAME" val="FontSet1"/>
  <p:tag name="COLORS" val="-2;-2;-2;-2;TitleFontColor;-2"/>
  <p:tag name="COLORSETCLASSNAME" val="ColorSet1"/>
  <p:tag name="MLI" val="1"/>
  <p:tag name="SHAPESETGROUPCLASSNAME" val="ShapeSetGroup1"/>
  <p:tag name="SHAPESETCLASSNAME" val="ShapeSet13"/>
  <p:tag name="COLORSETGROUPCLASSNAME" val="ColorSetGroup1"/>
  <p:tag name="FONTSETGROUPCLASSNAME" val="FontSetGroup1"/>
  <p:tag name="SHAPECLASSNAME" val="TitleOnSlide"/>
  <p:tag name="SHAPECLASSPROTECTIONTYPE" val="11"/>
  <p:tag name="THINKCELLSHAPEDONOTDELETE" val="p51A.TOo55E.WcOmxS1vL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LogoPOST"/>
  <p:tag name="SHAPECLASSFILE" val="DHL_Ex_extern.gif"/>
  <p:tag name="SHAPECLASSPROTECTIONTYPE" val="1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LogoPOST"/>
  <p:tag name="SHAPECLASSFILE" val="DHL_Ex_extern.gif"/>
  <p:tag name="SHAPECLASSPROTECTIONTYPE" val="1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LogoPOST"/>
  <p:tag name="SHAPECLASSFILE" val="DHL_Ex_extern.gif"/>
  <p:tag name="SHAPECLASSPROTECTIONTYPE" val="1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CC00"/>
      </a:lt1>
      <a:dk2>
        <a:srgbClr val="000000"/>
      </a:dk2>
      <a:lt2>
        <a:srgbClr val="DADADA"/>
      </a:lt2>
      <a:accent1>
        <a:srgbClr val="D40511"/>
      </a:accent1>
      <a:accent2>
        <a:srgbClr val="FFDB4C"/>
      </a:accent2>
      <a:accent3>
        <a:srgbClr val="FFE2AA"/>
      </a:accent3>
      <a:accent4>
        <a:srgbClr val="000000"/>
      </a:accent4>
      <a:accent5>
        <a:srgbClr val="E6AAAA"/>
      </a:accent5>
      <a:accent6>
        <a:srgbClr val="E7C644"/>
      </a:accent6>
      <a:hlink>
        <a:srgbClr val="FFE595"/>
      </a:hlink>
      <a:folHlink>
        <a:srgbClr val="FFF0B2"/>
      </a:folHlink>
    </a:clrScheme>
    <a:fontScheme name="Default Design">
      <a:majorFont>
        <a:latin typeface="Frutiger"/>
        <a:ea typeface=""/>
        <a:cs typeface=""/>
      </a:majorFont>
      <a:minorFont>
        <a:latin typeface="Frutig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" pitchFamily="34" charset="0"/>
            <a:sym typeface="Wingdings 2" pitchFamily="18" charset="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" pitchFamily="34" charset="0"/>
            <a:sym typeface="Wingdings 2" pitchFamily="18" charset="2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CC00"/>
        </a:lt1>
        <a:dk2>
          <a:srgbClr val="000000"/>
        </a:dk2>
        <a:lt2>
          <a:srgbClr val="DADADA"/>
        </a:lt2>
        <a:accent1>
          <a:srgbClr val="D40511"/>
        </a:accent1>
        <a:accent2>
          <a:srgbClr val="FFDB4C"/>
        </a:accent2>
        <a:accent3>
          <a:srgbClr val="FFE2AA"/>
        </a:accent3>
        <a:accent4>
          <a:srgbClr val="000000"/>
        </a:accent4>
        <a:accent5>
          <a:srgbClr val="E6AAAA"/>
        </a:accent5>
        <a:accent6>
          <a:srgbClr val="E7C644"/>
        </a:accent6>
        <a:hlink>
          <a:srgbClr val="FFE595"/>
        </a:hlink>
        <a:folHlink>
          <a:srgbClr val="FFF0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1_DHL_PPT_4x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11.xml><?xml version="1.0" encoding="utf-8"?>
<a:theme xmlns:a="http://schemas.openxmlformats.org/drawingml/2006/main" name="3_DHL_PPT_Template_4to3">
  <a:themeElements>
    <a:clrScheme name="DPDHL_colour_schem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reck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DHL_PPT_Template_4to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FFCC00"/>
        </a:hlink>
        <a:folHlink>
          <a:srgbClr val="D4051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ostyellow 100%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Chart grey yellow 1">
      <a:srgbClr val="5C5D59"/>
    </a:custClr>
    <a:custClr name="Chart grey yellow 2">
      <a:srgbClr val="7F7F7B"/>
    </a:custClr>
    <a:custClr name="Chart grey yellow 3">
      <a:srgbClr val="9B9C96"/>
    </a:custClr>
    <a:custClr name="Chart grey yellow 4">
      <a:srgbClr val="BBBBB3"/>
    </a:custClr>
    <a:custClr name="Chart grey yellow 5">
      <a:srgbClr val="DDDDD7"/>
    </a:custClr>
    <a:custClr name="Chart grey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red 1">
      <a:srgbClr val="666362"/>
    </a:custClr>
    <a:custClr name="Grey tone red 2">
      <a:srgbClr val="827C7A"/>
    </a:custClr>
    <a:custClr name="Grey tone red 3">
      <a:srgbClr val="9F9997"/>
    </a:custClr>
    <a:custClr name="Grey tone red 4">
      <a:srgbClr val="BAB2B0"/>
    </a:custClr>
    <a:custClr name="Grey tone red 5">
      <a:srgbClr val="D6D0CE"/>
    </a:custClr>
    <a:custClr name="Grey tone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cyan 1">
      <a:srgbClr val="545D62"/>
    </a:custClr>
    <a:custClr name="Grey tone cyan 2">
      <a:srgbClr val="747F86"/>
    </a:custClr>
    <a:custClr name="Grey tone cyan 3">
      <a:srgbClr val="97A1A7"/>
    </a:custClr>
    <a:custClr name="Grey tone cyan 4">
      <a:srgbClr val="A6B0B6"/>
    </a:custClr>
    <a:custClr name="Grey tone cyan 5">
      <a:srgbClr val="B5BFC5"/>
    </a:custClr>
    <a:custClr name="Grey tone cyan 6">
      <a:srgbClr val="C8CED2"/>
    </a:custClr>
  </a:custClrLst>
</a:theme>
</file>

<file path=ppt/theme/theme12.xml><?xml version="1.0" encoding="utf-8"?>
<a:theme xmlns:a="http://schemas.openxmlformats.org/drawingml/2006/main" name="4_DHL_PPT_Template_4to3">
  <a:themeElements>
    <a:clrScheme name="DPDHL_colour_schem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reck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HL_PPT_Template_4to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FFCC00"/>
        </a:hlink>
        <a:folHlink>
          <a:srgbClr val="D4051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ostyellow 100%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Chart grey yellow 1">
      <a:srgbClr val="5C5D59"/>
    </a:custClr>
    <a:custClr name="Chart grey yellow 2">
      <a:srgbClr val="7F7F7B"/>
    </a:custClr>
    <a:custClr name="Chart grey yellow 3">
      <a:srgbClr val="9B9C96"/>
    </a:custClr>
    <a:custClr name="Chart grey yellow 4">
      <a:srgbClr val="BBBBB3"/>
    </a:custClr>
    <a:custClr name="Chart grey yellow 5">
      <a:srgbClr val="DDDDD7"/>
    </a:custClr>
    <a:custClr name="Chart grey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red 1">
      <a:srgbClr val="666362"/>
    </a:custClr>
    <a:custClr name="Grey tone red 2">
      <a:srgbClr val="827C7A"/>
    </a:custClr>
    <a:custClr name="Grey tone red 3">
      <a:srgbClr val="9F9997"/>
    </a:custClr>
    <a:custClr name="Grey tone red 4">
      <a:srgbClr val="BAB2B0"/>
    </a:custClr>
    <a:custClr name="Grey tone red 5">
      <a:srgbClr val="D6D0CE"/>
    </a:custClr>
    <a:custClr name="Grey tone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cyan 1">
      <a:srgbClr val="545D62"/>
    </a:custClr>
    <a:custClr name="Grey tone cyan 2">
      <a:srgbClr val="747F86"/>
    </a:custClr>
    <a:custClr name="Grey tone cyan 3">
      <a:srgbClr val="97A1A7"/>
    </a:custClr>
    <a:custClr name="Grey tone cyan 4">
      <a:srgbClr val="A6B0B6"/>
    </a:custClr>
    <a:custClr name="Grey tone cyan 5">
      <a:srgbClr val="B5BFC5"/>
    </a:custClr>
    <a:custClr name="Grey tone cyan 6">
      <a:srgbClr val="C8CED2"/>
    </a:custClr>
  </a:custClrLst>
</a:theme>
</file>

<file path=ppt/theme/theme13.xml><?xml version="1.0" encoding="utf-8"?>
<a:theme xmlns:a="http://schemas.openxmlformats.org/drawingml/2006/main" name="4_DHL Express_4x3_UK4540_012017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4051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noFill/>
        <a:ln w="12700" algn="ctr">
          <a:solidFill>
            <a:schemeClr val="accent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HL Express_TemplateAndMacros_4x3_[UK4540]_012017.potx" id="{CDB5CD92-8533-47C5-B337-A6D44D132340}" vid="{43DD6A06-F65C-45D3-B178-5D5326C8CB70}"/>
    </a:ext>
  </a:extLst>
</a:theme>
</file>

<file path=ppt/theme/theme14.xml><?xml version="1.0" encoding="utf-8"?>
<a:theme xmlns:a="http://schemas.openxmlformats.org/drawingml/2006/main" name="3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15.xml><?xml version="1.0" encoding="utf-8"?>
<a:theme xmlns:a="http://schemas.openxmlformats.org/drawingml/2006/main" name="4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16.xml><?xml version="1.0" encoding="utf-8"?>
<a:theme xmlns:a="http://schemas.openxmlformats.org/drawingml/2006/main" name="5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17.xml><?xml version="1.0" encoding="utf-8"?>
<a:theme xmlns:a="http://schemas.openxmlformats.org/drawingml/2006/main" name="5_DHL Express_4x3_UK4540_012017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9" tIns="72009" rIns="72009" bIns="72009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12700" algn="ctr">
          <a:solidFill>
            <a:schemeClr val="accent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HL Express_TemplateAndMacros_4x3_[UK4540]_012017.potx" id="{CDB5CD92-8533-47C5-B337-A6D44D132340}" vid="{43DD6A06-F65C-45D3-B178-5D5326C8CB70}"/>
    </a:ext>
  </a:extLst>
</a:theme>
</file>

<file path=ppt/theme/theme18.xml><?xml version="1.0" encoding="utf-8"?>
<a:theme xmlns:a="http://schemas.openxmlformats.org/drawingml/2006/main" name="6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19.xml><?xml version="1.0" encoding="utf-8"?>
<a:theme xmlns:a="http://schemas.openxmlformats.org/drawingml/2006/main" name="7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.xml><?xml version="1.0" encoding="utf-8"?>
<a:theme xmlns:a="http://schemas.openxmlformats.org/drawingml/2006/main" name="DHL Express_4x3_UK4540_012017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4051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noFill/>
        <a:ln w="12700" algn="ctr">
          <a:solidFill>
            <a:schemeClr val="accent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HL Express_4x3_UK4540_012017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HL Express_TemplateAndMacros_4x3_[UK4540]_012017.potx" id="{CDB5CD92-8533-47C5-B337-A6D44D132340}" vid="{43DD6A06-F65C-45D3-B178-5D5326C8CB70}"/>
    </a:ext>
  </a:extLst>
</a:theme>
</file>

<file path=ppt/theme/theme20.xml><?xml version="1.0" encoding="utf-8"?>
<a:theme xmlns:a="http://schemas.openxmlformats.org/drawingml/2006/main" name="8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1.xml><?xml version="1.0" encoding="utf-8"?>
<a:theme xmlns:a="http://schemas.openxmlformats.org/drawingml/2006/main" name="9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2.xml><?xml version="1.0" encoding="utf-8"?>
<a:theme xmlns:a="http://schemas.openxmlformats.org/drawingml/2006/main" name="10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3.xml><?xml version="1.0" encoding="utf-8"?>
<a:theme xmlns:a="http://schemas.openxmlformats.org/drawingml/2006/main" name="6_DHL Express_4x3_UK4540_012017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4051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9" tIns="72009" rIns="72009" bIns="72009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noFill/>
        <a:ln w="12700" algn="ctr">
          <a:solidFill>
            <a:schemeClr val="accent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HL Express_TemplateAndMacros_4x3_[UK4540]_012017.potx" id="{CDB5CD92-8533-47C5-B337-A6D44D132340}" vid="{43DD6A06-F65C-45D3-B178-5D5326C8CB70}"/>
    </a:ext>
  </a:extLst>
</a:theme>
</file>

<file path=ppt/theme/theme24.xml><?xml version="1.0" encoding="utf-8"?>
<a:theme xmlns:a="http://schemas.openxmlformats.org/drawingml/2006/main" name="11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5.xml><?xml version="1.0" encoding="utf-8"?>
<a:theme xmlns:a="http://schemas.openxmlformats.org/drawingml/2006/main" name="12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6.xml><?xml version="1.0" encoding="utf-8"?>
<a:theme xmlns:a="http://schemas.openxmlformats.org/drawingml/2006/main" name="13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7.xml><?xml version="1.0" encoding="utf-8"?>
<a:theme xmlns:a="http://schemas.openxmlformats.org/drawingml/2006/main" name="14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8.xml><?xml version="1.0" encoding="utf-8"?>
<a:theme xmlns:a="http://schemas.openxmlformats.org/drawingml/2006/main" name="15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29.xml><?xml version="1.0" encoding="utf-8"?>
<a:theme xmlns:a="http://schemas.openxmlformats.org/drawingml/2006/main" name="16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.xml><?xml version="1.0" encoding="utf-8"?>
<a:theme xmlns:a="http://schemas.openxmlformats.org/drawingml/2006/main" name="1_DHL Express_4x3_UK4540_012017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9" tIns="72009" rIns="72009" bIns="72009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12700" algn="ctr">
          <a:solidFill>
            <a:schemeClr val="accent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1_DHL Express_4x3_UK4540_012017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HL Express_TemplateAndMacros_4x3_[UK4540]_012017.potx" id="{CDB5CD92-8533-47C5-B337-A6D44D132340}" vid="{43DD6A06-F65C-45D3-B178-5D5326C8CB70}"/>
    </a:ext>
  </a:extLst>
</a:theme>
</file>

<file path=ppt/theme/theme30.xml><?xml version="1.0" encoding="utf-8"?>
<a:theme xmlns:a="http://schemas.openxmlformats.org/drawingml/2006/main" name="17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1.xml><?xml version="1.0" encoding="utf-8"?>
<a:theme xmlns:a="http://schemas.openxmlformats.org/drawingml/2006/main" name="18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2.xml><?xml version="1.0" encoding="utf-8"?>
<a:theme xmlns:a="http://schemas.openxmlformats.org/drawingml/2006/main" name="19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3.xml><?xml version="1.0" encoding="utf-8"?>
<a:theme xmlns:a="http://schemas.openxmlformats.org/drawingml/2006/main" name="20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4.xml><?xml version="1.0" encoding="utf-8"?>
<a:theme xmlns:a="http://schemas.openxmlformats.org/drawingml/2006/main" name="21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5.xml><?xml version="1.0" encoding="utf-8"?>
<a:theme xmlns:a="http://schemas.openxmlformats.org/drawingml/2006/main" name="22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6.xml><?xml version="1.0" encoding="utf-8"?>
<a:theme xmlns:a="http://schemas.openxmlformats.org/drawingml/2006/main" name="23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7.xml><?xml version="1.0" encoding="utf-8"?>
<a:theme xmlns:a="http://schemas.openxmlformats.org/drawingml/2006/main" name="24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8.xml><?xml version="1.0" encoding="utf-8"?>
<a:theme xmlns:a="http://schemas.openxmlformats.org/drawingml/2006/main" name="25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39.xml><?xml version="1.0" encoding="utf-8"?>
<a:theme xmlns:a="http://schemas.openxmlformats.org/drawingml/2006/main" name="26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4.xml><?xml version="1.0" encoding="utf-8"?>
<a:theme xmlns:a="http://schemas.openxmlformats.org/drawingml/2006/main" name="2_DHL Express_4x3_UK4540_012017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9" tIns="72009" rIns="72009" bIns="72009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12700" algn="ctr">
          <a:solidFill>
            <a:schemeClr val="accent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2_DHL Express_4x3_UK4540_012017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HL Express_TemplateAndMacros_4x3_[UK4540]_012017.potx" id="{CDB5CD92-8533-47C5-B337-A6D44D132340}" vid="{43DD6A06-F65C-45D3-B178-5D5326C8CB70}"/>
    </a:ext>
  </a:extLst>
</a:theme>
</file>

<file path=ppt/theme/theme40.xml><?xml version="1.0" encoding="utf-8"?>
<a:theme xmlns:a="http://schemas.openxmlformats.org/drawingml/2006/main" name="7_DHL Express_4x3_UK4540_012017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9" tIns="72009" rIns="72009" bIns="72009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12700" algn="ctr">
          <a:solidFill>
            <a:schemeClr val="accent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HL Express_TemplateAndMacros_4x3_[UK4540]_012017.potx" id="{CDB5CD92-8533-47C5-B337-A6D44D132340}" vid="{43DD6A06-F65C-45D3-B178-5D5326C8CB70}"/>
    </a:ext>
  </a:extLst>
</a:theme>
</file>

<file path=ppt/theme/theme4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DHL Express_4x3_UK4540_012017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9" tIns="72009" rIns="72009" bIns="72009" numCol="1" rtlCol="0" anchor="ctr" anchorCtr="0" compatLnSpc="1">
        <a:prstTxWarp prst="textNoShape">
          <a:avLst/>
        </a:prstTxWarp>
      </a:bodyPr>
      <a:lstStyle>
        <a:defPPr marL="0" marR="0" indent="0" algn="ctr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12700" algn="ctr">
          <a:solidFill>
            <a:schemeClr val="accent2"/>
          </a:solidFill>
          <a:round/>
          <a:headEnd/>
          <a:tailEnd/>
        </a:ln>
        <a:extLst>
          <a:ext uri="{909E8E84-426E-40DD-AFC4-6F175D3DCCD1}">
            <a14:hiddenFill xmlns:a14="http://schemas.microsoft.com/office/drawing/2010/main">
              <a:noFill/>
            </a14:hiddenFill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3_DHL Express_4x3_UK4540_012017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ext. grey tones yellow 1">
      <a:srgbClr val="5C5D59"/>
    </a:custClr>
    <a:custClr name="ext. grey tones yellow 2">
      <a:srgbClr val="7F7F7B"/>
    </a:custClr>
    <a:custClr name="ext. grey tones yellow 3">
      <a:srgbClr val="9B9C96"/>
    </a:custClr>
    <a:custClr name="ext. grey tones yellow 4">
      <a:srgbClr val="BBBBB3"/>
    </a:custClr>
    <a:custClr name="ext. grey tones yellow 5">
      <a:srgbClr val="DDDDD7"/>
    </a:custClr>
    <a:custClr name="ext. grey tones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red 1">
      <a:srgbClr val="666362"/>
    </a:custClr>
    <a:custClr name="ext. grey toness red 2">
      <a:srgbClr val="827C7A"/>
    </a:custClr>
    <a:custClr name="ext. grey toness red 3">
      <a:srgbClr val="9F9997"/>
    </a:custClr>
    <a:custClr name="ext. grey tones red 4">
      <a:srgbClr val="BAB2B0"/>
    </a:custClr>
    <a:custClr name="ext. grey tones red 5">
      <a:srgbClr val="D6D0CE"/>
    </a:custClr>
    <a:custClr name="ext. grey tones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ext. grey tones cyan 1">
      <a:srgbClr val="545D62"/>
    </a:custClr>
    <a:custClr name="ext. grey tones cyan 2">
      <a:srgbClr val="747F86"/>
    </a:custClr>
    <a:custClr name="ext. grey tones cyan 3">
      <a:srgbClr val="97A1A7"/>
    </a:custClr>
    <a:custClr name="ext. grey tones cyan 4">
      <a:srgbClr val="A6B0B6"/>
    </a:custClr>
    <a:custClr name="ext. grey tones cyan 5">
      <a:srgbClr val="B5BFC5"/>
    </a:custClr>
    <a:custClr name="ext. grey tones cyan 6">
      <a:srgbClr val="C8CED2"/>
    </a:custClr>
  </a:custClrLst>
  <a:extLst>
    <a:ext uri="{05A4C25C-085E-4340-85A3-A5531E510DB2}">
      <thm15:themeFamily xmlns:thm15="http://schemas.microsoft.com/office/thememl/2012/main" name="DHL Express_TemplateAndMacros_4x3_[UK4540]_012017.potx" id="{CDB5CD92-8533-47C5-B337-A6D44D132340}" vid="{43DD6A06-F65C-45D3-B178-5D5326C8CB70}"/>
    </a:ext>
  </a:extLst>
</a:theme>
</file>

<file path=ppt/theme/theme6.xml><?xml version="1.0" encoding="utf-8"?>
<a:theme xmlns:a="http://schemas.openxmlformats.org/drawingml/2006/main" name="1_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1_DHL_PPT_4x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7C8E855B-1EA4-441A-AFE6-4FD2703896F2}" vid="{0DB52780-A2CB-4DDD-9737-1BA74DDF94EA}"/>
    </a:ext>
  </a:extLst>
</a:theme>
</file>

<file path=ppt/theme/theme7.xml><?xml version="1.0" encoding="utf-8"?>
<a:theme xmlns:a="http://schemas.openxmlformats.org/drawingml/2006/main" name="DHL_PPT_Template_4to3">
  <a:themeElements>
    <a:clrScheme name="DPDHL_colour_schem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reck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HL_PPT_Template_4to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FFCC00"/>
        </a:hlink>
        <a:folHlink>
          <a:srgbClr val="D4051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ostyellow 100%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Chart grey yellow 1">
      <a:srgbClr val="5C5D59"/>
    </a:custClr>
    <a:custClr name="Chart grey yellow 2">
      <a:srgbClr val="7F7F7B"/>
    </a:custClr>
    <a:custClr name="Chart grey yellow 3">
      <a:srgbClr val="9B9C96"/>
    </a:custClr>
    <a:custClr name="Chart grey yellow 4">
      <a:srgbClr val="BBBBB3"/>
    </a:custClr>
    <a:custClr name="Chart grey yellow 5">
      <a:srgbClr val="DDDDD7"/>
    </a:custClr>
    <a:custClr name="Chart grey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red 1">
      <a:srgbClr val="666362"/>
    </a:custClr>
    <a:custClr name="Grey tone red 2">
      <a:srgbClr val="827C7A"/>
    </a:custClr>
    <a:custClr name="Grey tone red 3">
      <a:srgbClr val="9F9997"/>
    </a:custClr>
    <a:custClr name="Grey tone red 4">
      <a:srgbClr val="BAB2B0"/>
    </a:custClr>
    <a:custClr name="Grey tone red 5">
      <a:srgbClr val="D6D0CE"/>
    </a:custClr>
    <a:custClr name="Grey tone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cyan 1">
      <a:srgbClr val="545D62"/>
    </a:custClr>
    <a:custClr name="Grey tone cyan 2">
      <a:srgbClr val="747F86"/>
    </a:custClr>
    <a:custClr name="Grey tone cyan 3">
      <a:srgbClr val="97A1A7"/>
    </a:custClr>
    <a:custClr name="Grey tone cyan 4">
      <a:srgbClr val="A6B0B6"/>
    </a:custClr>
    <a:custClr name="Grey tone cyan 5">
      <a:srgbClr val="B5BFC5"/>
    </a:custClr>
    <a:custClr name="Grey tone cyan 6">
      <a:srgbClr val="C8CED2"/>
    </a:custClr>
  </a:custClrLst>
</a:theme>
</file>

<file path=ppt/theme/theme8.xml><?xml version="1.0" encoding="utf-8"?>
<a:theme xmlns:a="http://schemas.openxmlformats.org/drawingml/2006/main" name="1_DHL_PPT_Template_4to3">
  <a:themeElements>
    <a:clrScheme name="DPDHL_colour_schem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reck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HL_PPT_Template_4to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FFCC00"/>
        </a:hlink>
        <a:folHlink>
          <a:srgbClr val="D4051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ostyellow 100%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Chart grey yellow 1">
      <a:srgbClr val="5C5D59"/>
    </a:custClr>
    <a:custClr name="Chart grey yellow 2">
      <a:srgbClr val="7F7F7B"/>
    </a:custClr>
    <a:custClr name="Chart grey yellow 3">
      <a:srgbClr val="9B9C96"/>
    </a:custClr>
    <a:custClr name="Chart grey yellow 4">
      <a:srgbClr val="BBBBB3"/>
    </a:custClr>
    <a:custClr name="Chart grey yellow 5">
      <a:srgbClr val="DDDDD7"/>
    </a:custClr>
    <a:custClr name="Chart grey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red 1">
      <a:srgbClr val="666362"/>
    </a:custClr>
    <a:custClr name="Grey tone red 2">
      <a:srgbClr val="827C7A"/>
    </a:custClr>
    <a:custClr name="Grey tone red 3">
      <a:srgbClr val="9F9997"/>
    </a:custClr>
    <a:custClr name="Grey tone red 4">
      <a:srgbClr val="BAB2B0"/>
    </a:custClr>
    <a:custClr name="Grey tone red 5">
      <a:srgbClr val="D6D0CE"/>
    </a:custClr>
    <a:custClr name="Grey tone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cyan 1">
      <a:srgbClr val="545D62"/>
    </a:custClr>
    <a:custClr name="Grey tone cyan 2">
      <a:srgbClr val="747F86"/>
    </a:custClr>
    <a:custClr name="Grey tone cyan 3">
      <a:srgbClr val="97A1A7"/>
    </a:custClr>
    <a:custClr name="Grey tone cyan 4">
      <a:srgbClr val="A6B0B6"/>
    </a:custClr>
    <a:custClr name="Grey tone cyan 5">
      <a:srgbClr val="B5BFC5"/>
    </a:custClr>
    <a:custClr name="Grey tone cyan 6">
      <a:srgbClr val="C8CED2"/>
    </a:custClr>
  </a:custClrLst>
</a:theme>
</file>

<file path=ppt/theme/theme9.xml><?xml version="1.0" encoding="utf-8"?>
<a:theme xmlns:a="http://schemas.openxmlformats.org/drawingml/2006/main" name="2_DHL_PPT_Template_4to3">
  <a:themeElements>
    <a:clrScheme name="DPDHL_colour_schem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reck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44000" tIns="144000" rIns="144000" bIns="144000" numCol="1" anchor="ctr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DHL_PPT_Template_4to3 1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5E5E5E"/>
        </a:accent6>
        <a:hlink>
          <a:srgbClr val="FFCC00"/>
        </a:hlink>
        <a:folHlink>
          <a:srgbClr val="D4051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ostyellow 100%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Chart grey yellow 1">
      <a:srgbClr val="5C5D59"/>
    </a:custClr>
    <a:custClr name="Chart grey yellow 2">
      <a:srgbClr val="7F7F7B"/>
    </a:custClr>
    <a:custClr name="Chart grey yellow 3">
      <a:srgbClr val="9B9C96"/>
    </a:custClr>
    <a:custClr name="Chart grey yellow 4">
      <a:srgbClr val="BBBBB3"/>
    </a:custClr>
    <a:custClr name="Chart grey yellow 5">
      <a:srgbClr val="DDDDD7"/>
    </a:custClr>
    <a:custClr name="Chart grey yellow 6">
      <a:srgbClr val="EDEDE7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red 1">
      <a:srgbClr val="666362"/>
    </a:custClr>
    <a:custClr name="Grey tone red 2">
      <a:srgbClr val="827C7A"/>
    </a:custClr>
    <a:custClr name="Grey tone red 3">
      <a:srgbClr val="9F9997"/>
    </a:custClr>
    <a:custClr name="Grey tone red 4">
      <a:srgbClr val="BAB2B0"/>
    </a:custClr>
    <a:custClr name="Grey tone red 5">
      <a:srgbClr val="D6D0CE"/>
    </a:custClr>
    <a:custClr name="Grey tone red 6">
      <a:srgbClr val="EBE4E1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Grey tone cyan 1">
      <a:srgbClr val="545D62"/>
    </a:custClr>
    <a:custClr name="Grey tone cyan 2">
      <a:srgbClr val="747F86"/>
    </a:custClr>
    <a:custClr name="Grey tone cyan 3">
      <a:srgbClr val="97A1A7"/>
    </a:custClr>
    <a:custClr name="Grey tone cyan 4">
      <a:srgbClr val="A6B0B6"/>
    </a:custClr>
    <a:custClr name="Grey tone cyan 5">
      <a:srgbClr val="B5BFC5"/>
    </a:custClr>
    <a:custClr name="Grey tone cyan 6">
      <a:srgbClr val="C8CED2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961AE4BB248247A64E91291718ECF6" ma:contentTypeVersion="0" ma:contentTypeDescription="Create a new document." ma:contentTypeScope="" ma:versionID="0b49405ee5a584529199730822017ae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6D1E013-4A9C-43F5-B568-1FE6D6D144F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B479860-57E6-4E36-92FE-BB8E1B2ACE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0DB27E5-636E-4FB8-811D-8370A7950476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455</TotalTime>
  <Words>712</Words>
  <Application>Microsoft Office PowerPoint</Application>
  <PresentationFormat>On-screen Show (4:3)</PresentationFormat>
  <Paragraphs>96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0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59" baseType="lpstr">
      <vt:lpstr>MS PGothic</vt:lpstr>
      <vt:lpstr>Arial</vt:lpstr>
      <vt:lpstr>Calibri</vt:lpstr>
      <vt:lpstr>Century Gothic</vt:lpstr>
      <vt:lpstr>Frutiger</vt:lpstr>
      <vt:lpstr>Symbol</vt:lpstr>
      <vt:lpstr>Wingdings</vt:lpstr>
      <vt:lpstr>Wingdings 2</vt:lpstr>
      <vt:lpstr>Default Design</vt:lpstr>
      <vt:lpstr>DHL Express_4x3_UK4540_012017</vt:lpstr>
      <vt:lpstr>1_DHL Express_4x3_UK4540_012017</vt:lpstr>
      <vt:lpstr>2_DHL Express_4x3_UK4540_012017</vt:lpstr>
      <vt:lpstr>3_DHL Express_4x3_UK4540_012017</vt:lpstr>
      <vt:lpstr>1_DHL_PPT_4x3</vt:lpstr>
      <vt:lpstr>DHL_PPT_Template_4to3</vt:lpstr>
      <vt:lpstr>1_DHL_PPT_Template_4to3</vt:lpstr>
      <vt:lpstr>2_DHL_PPT_Template_4to3</vt:lpstr>
      <vt:lpstr>2_DHL_PPT_4x3</vt:lpstr>
      <vt:lpstr>3_DHL_PPT_Template_4to3</vt:lpstr>
      <vt:lpstr>4_DHL_PPT_Template_4to3</vt:lpstr>
      <vt:lpstr>4_DHL Express_4x3_UK4540_012017</vt:lpstr>
      <vt:lpstr>3_DHL_PPT_4x3</vt:lpstr>
      <vt:lpstr>4_DHL_PPT_4x3</vt:lpstr>
      <vt:lpstr>5_DHL_PPT_4x3</vt:lpstr>
      <vt:lpstr>5_DHL Express_4x3_UK4540_012017</vt:lpstr>
      <vt:lpstr>6_DHL_PPT_4x3</vt:lpstr>
      <vt:lpstr>7_DHL_PPT_4x3</vt:lpstr>
      <vt:lpstr>8_DHL_PPT_4x3</vt:lpstr>
      <vt:lpstr>9_DHL_PPT_4x3</vt:lpstr>
      <vt:lpstr>10_DHL_PPT_4x3</vt:lpstr>
      <vt:lpstr>6_DHL Express_4x3_UK4540_012017</vt:lpstr>
      <vt:lpstr>11_DHL_PPT_4x3</vt:lpstr>
      <vt:lpstr>12_DHL_PPT_4x3</vt:lpstr>
      <vt:lpstr>13_DHL_PPT_4x3</vt:lpstr>
      <vt:lpstr>14_DHL_PPT_4x3</vt:lpstr>
      <vt:lpstr>15_DHL_PPT_4x3</vt:lpstr>
      <vt:lpstr>16_DHL_PPT_4x3</vt:lpstr>
      <vt:lpstr>17_DHL_PPT_4x3</vt:lpstr>
      <vt:lpstr>18_DHL_PPT_4x3</vt:lpstr>
      <vt:lpstr>19_DHL_PPT_4x3</vt:lpstr>
      <vt:lpstr>20_DHL_PPT_4x3</vt:lpstr>
      <vt:lpstr>21_DHL_PPT_4x3</vt:lpstr>
      <vt:lpstr>22_DHL_PPT_4x3</vt:lpstr>
      <vt:lpstr>23_DHL_PPT_4x3</vt:lpstr>
      <vt:lpstr>24_DHL_PPT_4x3</vt:lpstr>
      <vt:lpstr>25_DHL_PPT_4x3</vt:lpstr>
      <vt:lpstr>26_DHL_PPT_4x3</vt:lpstr>
      <vt:lpstr>7_DHL Express_4x3_UK4540_012017</vt:lpstr>
      <vt:lpstr>think-cell Folie</vt:lpstr>
      <vt:lpstr>think-cell Slide</vt:lpstr>
      <vt:lpstr>  Internet of Things  in logistics   </vt:lpstr>
      <vt:lpstr>DHL Fact Sheet </vt:lpstr>
      <vt:lpstr>Why IoT- We Move Things </vt:lpstr>
      <vt:lpstr>DHL and IoT</vt:lpstr>
      <vt:lpstr>DHL and IoT</vt:lpstr>
      <vt:lpstr>IoT in Action - Logistics</vt:lpstr>
      <vt:lpstr>Factor Driving IoT in Logistics</vt:lpstr>
      <vt:lpstr>IoT in Logistics: Key Factors for Success &amp; Main Challenges</vt:lpstr>
      <vt:lpstr>PowerPoint Presentation</vt:lpstr>
    </vt:vector>
  </TitlesOfParts>
  <Company>DHL Expres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SR Presentation</dc:title>
  <dc:creator>Emil.Gheorghescu@dhl.com</dc:creator>
  <cp:lastModifiedBy>Andrea Davis (DHL TT)</cp:lastModifiedBy>
  <cp:revision>1646</cp:revision>
  <cp:lastPrinted>2018-08-01T19:01:56Z</cp:lastPrinted>
  <dcterms:created xsi:type="dcterms:W3CDTF">2007-12-21T22:10:05Z</dcterms:created>
  <dcterms:modified xsi:type="dcterms:W3CDTF">2019-07-24T12:4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961AE4BB248247A64E91291718ECF6</vt:lpwstr>
  </property>
</Properties>
</file>